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11" r:id="rId1"/>
  </p:sldMasterIdLst>
  <p:notesMasterIdLst>
    <p:notesMasterId r:id="rId12"/>
  </p:notesMasterIdLst>
  <p:handoutMasterIdLst>
    <p:handoutMasterId r:id="rId13"/>
  </p:handoutMasterIdLst>
  <p:sldIdLst>
    <p:sldId id="842" r:id="rId2"/>
    <p:sldId id="1377" r:id="rId3"/>
    <p:sldId id="1378" r:id="rId4"/>
    <p:sldId id="1379" r:id="rId5"/>
    <p:sldId id="1382" r:id="rId6"/>
    <p:sldId id="1381" r:id="rId7"/>
    <p:sldId id="1383" r:id="rId8"/>
    <p:sldId id="1384" r:id="rId9"/>
    <p:sldId id="1385" r:id="rId10"/>
    <p:sldId id="1386" r:id="rId11"/>
  </p:sldIdLst>
  <p:sldSz cx="9906000" cy="6858000" type="A4"/>
  <p:notesSz cx="9872663" cy="6742113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341">
          <p15:clr>
            <a:srgbClr val="A4A3A4"/>
          </p15:clr>
        </p15:guide>
        <p15:guide id="3" orient="horz" pos="2251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3838" userDrawn="1">
          <p15:clr>
            <a:srgbClr val="A4A3A4"/>
          </p15:clr>
        </p15:guide>
        <p15:guide id="6" pos="1306" userDrawn="1">
          <p15:clr>
            <a:srgbClr val="A4A3A4"/>
          </p15:clr>
        </p15:guide>
        <p15:guide id="7" pos="172" userDrawn="1">
          <p15:clr>
            <a:srgbClr val="A4A3A4"/>
          </p15:clr>
        </p15:guide>
        <p15:guide id="8" pos="1260">
          <p15:clr>
            <a:srgbClr val="A4A3A4"/>
          </p15:clr>
        </p15:guide>
        <p15:guide id="9" pos="2530">
          <p15:clr>
            <a:srgbClr val="A4A3A4"/>
          </p15:clr>
        </p15:guide>
        <p15:guide id="10" pos="3710">
          <p15:clr>
            <a:srgbClr val="A4A3A4"/>
          </p15:clr>
        </p15:guide>
        <p15:guide id="11" pos="3800">
          <p15:clr>
            <a:srgbClr val="A4A3A4"/>
          </p15:clr>
        </p15:guide>
        <p15:guide id="12" pos="4889">
          <p15:clr>
            <a:srgbClr val="A4A3A4"/>
          </p15:clr>
        </p15:guide>
        <p15:guide id="13" pos="6068">
          <p15:clr>
            <a:srgbClr val="A4A3A4"/>
          </p15:clr>
        </p15:guide>
        <p15:guide id="14" pos="2621">
          <p15:clr>
            <a:srgbClr val="A4A3A4"/>
          </p15:clr>
        </p15:guide>
        <p15:guide id="15" pos="4980">
          <p15:clr>
            <a:srgbClr val="A4A3A4"/>
          </p15:clr>
        </p15:guide>
        <p15:guide id="16" pos="6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24" userDrawn="1">
          <p15:clr>
            <a:srgbClr val="A4A3A4"/>
          </p15:clr>
        </p15:guide>
        <p15:guide id="2" pos="310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mona Turco" initials="ST" lastIdx="7" clrIdx="0">
    <p:extLst>
      <p:ext uri="{19B8F6BF-5375-455C-9EA6-DF929625EA0E}">
        <p15:presenceInfo xmlns:p15="http://schemas.microsoft.com/office/powerpoint/2012/main" userId="S-1-5-21-3266665562-1084893171-3893430709-33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6"/>
    <a:srgbClr val="790D51"/>
    <a:srgbClr val="FDF1F8"/>
    <a:srgbClr val="890C58"/>
    <a:srgbClr val="8A0054"/>
    <a:srgbClr val="000000"/>
    <a:srgbClr val="FFCDEC"/>
    <a:srgbClr val="0191DA"/>
    <a:srgbClr val="3A3D40"/>
    <a:srgbClr val="7B10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4756" autoAdjust="0"/>
  </p:normalViewPr>
  <p:slideViewPr>
    <p:cSldViewPr>
      <p:cViewPr varScale="1">
        <p:scale>
          <a:sx n="85" d="100"/>
          <a:sy n="85" d="100"/>
        </p:scale>
        <p:origin x="1224" y="29"/>
      </p:cViewPr>
      <p:guideLst>
        <p:guide orient="horz" pos="2341"/>
        <p:guide orient="horz" pos="2251"/>
        <p:guide orient="horz" pos="754"/>
        <p:guide orient="horz" pos="3838"/>
        <p:guide pos="1306"/>
        <p:guide pos="172"/>
        <p:guide pos="1260"/>
        <p:guide pos="2530"/>
        <p:guide pos="3710"/>
        <p:guide pos="3800"/>
        <p:guide pos="4889"/>
        <p:guide pos="6068"/>
        <p:guide pos="2621"/>
        <p:guide pos="4980"/>
        <p:guide pos="62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howGuides="1">
      <p:cViewPr varScale="1">
        <p:scale>
          <a:sx n="119" d="100"/>
          <a:sy n="119" d="100"/>
        </p:scale>
        <p:origin x="1090" y="96"/>
      </p:cViewPr>
      <p:guideLst>
        <p:guide orient="horz" pos="2124"/>
        <p:guide pos="310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6C62EF-98A4-4DC4-9BE4-277C252C9D1C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it-IT"/>
        </a:p>
      </dgm:t>
    </dgm:pt>
    <dgm:pt modelId="{29A5449A-E8E0-4089-9293-7E97B5B61EB9}">
      <dgm:prSet phldrT="[Testo]" custT="1"/>
      <dgm:spPr/>
      <dgm:t>
        <a:bodyPr/>
        <a:lstStyle/>
        <a:p>
          <a:r>
            <a:rPr lang="it-IT" sz="1800" b="1" dirty="0">
              <a:solidFill>
                <a:srgbClr val="575756"/>
              </a:solidFill>
            </a:rPr>
            <a:t>Analisi interna</a:t>
          </a:r>
          <a:endParaRPr lang="it-IT" sz="1800" b="1" dirty="0">
            <a:solidFill>
              <a:srgbClr val="575756"/>
            </a:solidFill>
            <a:latin typeface="+mn-lt"/>
            <a:cs typeface="Arial" panose="020B0604020202020204" pitchFamily="34" charset="0"/>
          </a:endParaRPr>
        </a:p>
      </dgm:t>
    </dgm:pt>
    <dgm:pt modelId="{1A669C1F-9953-4C3C-908F-FE241F048AF1}" type="parTrans" cxnId="{EF17832F-55C7-4B4D-87B3-AEB28F02223B}">
      <dgm:prSet/>
      <dgm:spPr/>
      <dgm:t>
        <a:bodyPr/>
        <a:lstStyle/>
        <a:p>
          <a:endParaRPr lang="it-IT">
            <a:solidFill>
              <a:srgbClr val="575756"/>
            </a:solidFill>
            <a:latin typeface="+mj-lt"/>
          </a:endParaRPr>
        </a:p>
      </dgm:t>
    </dgm:pt>
    <dgm:pt modelId="{DED11315-EAD8-4B08-B645-DE32A7CF7330}" type="sibTrans" cxnId="{EF17832F-55C7-4B4D-87B3-AEB28F02223B}">
      <dgm:prSet/>
      <dgm:spPr/>
      <dgm:t>
        <a:bodyPr/>
        <a:lstStyle/>
        <a:p>
          <a:endParaRPr lang="it-IT">
            <a:solidFill>
              <a:srgbClr val="575756"/>
            </a:solidFill>
            <a:latin typeface="+mj-lt"/>
          </a:endParaRPr>
        </a:p>
      </dgm:t>
    </dgm:pt>
    <dgm:pt modelId="{E53930C2-B7E6-4D66-82C5-24167DA25B3F}">
      <dgm:prSet phldrT="[Testo]" custT="1"/>
      <dgm:spPr/>
      <dgm:t>
        <a:bodyPr/>
        <a:lstStyle/>
        <a:p>
          <a:r>
            <a:rPr lang="it-IT" sz="1800" b="1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Company </a:t>
          </a:r>
          <a:r>
            <a:rPr lang="it-IT" sz="1800" b="1" dirty="0" err="1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profile</a:t>
          </a:r>
          <a:endParaRPr lang="it-IT" sz="1800" b="1" dirty="0">
            <a:solidFill>
              <a:srgbClr val="575756"/>
            </a:solidFill>
            <a:latin typeface="+mn-lt"/>
            <a:cs typeface="Arial" panose="020B0604020202020204" pitchFamily="34" charset="0"/>
          </a:endParaRPr>
        </a:p>
      </dgm:t>
    </dgm:pt>
    <dgm:pt modelId="{19B1D4FE-61EB-404B-9399-81CC1640FAC9}" type="parTrans" cxnId="{F47F64D7-1502-4FEB-B423-B3A61EE6DAC3}">
      <dgm:prSet/>
      <dgm:spPr/>
      <dgm:t>
        <a:bodyPr/>
        <a:lstStyle/>
        <a:p>
          <a:endParaRPr lang="it-IT">
            <a:solidFill>
              <a:srgbClr val="575756"/>
            </a:solidFill>
            <a:latin typeface="+mj-lt"/>
          </a:endParaRPr>
        </a:p>
      </dgm:t>
    </dgm:pt>
    <dgm:pt modelId="{480C8893-4410-44D3-973F-CEC846CC7325}" type="sibTrans" cxnId="{F47F64D7-1502-4FEB-B423-B3A61EE6DAC3}">
      <dgm:prSet/>
      <dgm:spPr/>
      <dgm:t>
        <a:bodyPr/>
        <a:lstStyle/>
        <a:p>
          <a:endParaRPr lang="it-IT">
            <a:solidFill>
              <a:srgbClr val="575756"/>
            </a:solidFill>
            <a:latin typeface="+mj-lt"/>
          </a:endParaRPr>
        </a:p>
      </dgm:t>
    </dgm:pt>
    <dgm:pt modelId="{8C86A3AF-C129-49C1-B23F-FD50E960FCC3}">
      <dgm:prSet phldrT="[Testo]" custT="1"/>
      <dgm:spPr/>
      <dgm:t>
        <a:bodyPr/>
        <a:lstStyle/>
        <a:p>
          <a:pPr>
            <a:buClrTx/>
            <a:buSzTx/>
            <a:buFontTx/>
            <a:buNone/>
          </a:pPr>
          <a:r>
            <a:rPr lang="it-IT" sz="1800" b="1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SWOT - Line guida strategiche </a:t>
          </a:r>
        </a:p>
      </dgm:t>
    </dgm:pt>
    <dgm:pt modelId="{AC1D69F0-2FA2-44B3-990F-96F16728AFDF}" type="parTrans" cxnId="{17D4B357-DC35-456A-9718-95AC339FDC90}">
      <dgm:prSet/>
      <dgm:spPr/>
      <dgm:t>
        <a:bodyPr/>
        <a:lstStyle/>
        <a:p>
          <a:endParaRPr lang="it-IT">
            <a:solidFill>
              <a:srgbClr val="575756"/>
            </a:solidFill>
          </a:endParaRPr>
        </a:p>
      </dgm:t>
    </dgm:pt>
    <dgm:pt modelId="{81CCD32D-B03F-475B-8D8E-61D7BF248D02}" type="sibTrans" cxnId="{17D4B357-DC35-456A-9718-95AC339FDC90}">
      <dgm:prSet/>
      <dgm:spPr/>
      <dgm:t>
        <a:bodyPr/>
        <a:lstStyle/>
        <a:p>
          <a:endParaRPr lang="it-IT">
            <a:solidFill>
              <a:srgbClr val="575756"/>
            </a:solidFill>
          </a:endParaRPr>
        </a:p>
      </dgm:t>
    </dgm:pt>
    <dgm:pt modelId="{C6B9F010-9D28-48AA-8428-CD9D61D551BB}">
      <dgm:prSet phldrT="[Testo]" custT="1"/>
      <dgm:spPr/>
      <dgm:t>
        <a:bodyPr/>
        <a:lstStyle/>
        <a:p>
          <a:pPr>
            <a:buClrTx/>
            <a:buSzTx/>
            <a:buFontTx/>
            <a:buNone/>
          </a:pPr>
          <a:r>
            <a:rPr lang="it-IT" sz="1800" b="1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Proiezioni - assunzioni</a:t>
          </a:r>
        </a:p>
      </dgm:t>
    </dgm:pt>
    <dgm:pt modelId="{F501F3CE-4820-4582-A959-F31DEDADBC37}" type="parTrans" cxnId="{5CAA240C-1D7C-40F6-9A63-EEFB10A294C6}">
      <dgm:prSet/>
      <dgm:spPr/>
      <dgm:t>
        <a:bodyPr/>
        <a:lstStyle/>
        <a:p>
          <a:endParaRPr lang="it-IT">
            <a:solidFill>
              <a:srgbClr val="575756"/>
            </a:solidFill>
          </a:endParaRPr>
        </a:p>
      </dgm:t>
    </dgm:pt>
    <dgm:pt modelId="{9508D383-2872-4C81-8861-34C5DC10A5B3}" type="sibTrans" cxnId="{5CAA240C-1D7C-40F6-9A63-EEFB10A294C6}">
      <dgm:prSet/>
      <dgm:spPr/>
      <dgm:t>
        <a:bodyPr/>
        <a:lstStyle/>
        <a:p>
          <a:endParaRPr lang="it-IT">
            <a:solidFill>
              <a:srgbClr val="575756"/>
            </a:solidFill>
          </a:endParaRPr>
        </a:p>
      </dgm:t>
    </dgm:pt>
    <dgm:pt modelId="{DB2B1E44-C7D1-4530-B5DC-40556DE6D489}">
      <dgm:prSet phldrT="[Testo]" custT="1"/>
      <dgm:spPr/>
      <dgm:t>
        <a:bodyPr/>
        <a:lstStyle/>
        <a:p>
          <a:r>
            <a:rPr lang="it-IT" sz="1800" b="1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Analisi di Mercato</a:t>
          </a:r>
        </a:p>
      </dgm:t>
    </dgm:pt>
    <dgm:pt modelId="{B2ABB891-3D41-440A-8FA0-911F2B01E273}" type="parTrans" cxnId="{D399D392-32AD-4E9D-8AF5-788215852149}">
      <dgm:prSet/>
      <dgm:spPr/>
      <dgm:t>
        <a:bodyPr/>
        <a:lstStyle/>
        <a:p>
          <a:endParaRPr lang="it-IT">
            <a:solidFill>
              <a:srgbClr val="575756"/>
            </a:solidFill>
          </a:endParaRPr>
        </a:p>
      </dgm:t>
    </dgm:pt>
    <dgm:pt modelId="{79C04208-0084-4DA5-84FF-5767FB72DD5C}" type="sibTrans" cxnId="{D399D392-32AD-4E9D-8AF5-788215852149}">
      <dgm:prSet/>
      <dgm:spPr/>
      <dgm:t>
        <a:bodyPr/>
        <a:lstStyle/>
        <a:p>
          <a:endParaRPr lang="it-IT">
            <a:solidFill>
              <a:srgbClr val="575756"/>
            </a:solidFill>
          </a:endParaRPr>
        </a:p>
      </dgm:t>
    </dgm:pt>
    <dgm:pt modelId="{114AB639-88C4-4D68-8478-1234A4D80D29}">
      <dgm:prSet phldrT="[Testo]" custT="1"/>
      <dgm:spPr/>
      <dgm:t>
        <a:bodyPr/>
        <a:lstStyle/>
        <a:p>
          <a:pPr>
            <a:buClrTx/>
            <a:buSzTx/>
            <a:buFontTx/>
            <a:buNone/>
          </a:pPr>
          <a:r>
            <a:rPr lang="it-IT" sz="1800" b="1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Evaluation</a:t>
          </a:r>
        </a:p>
      </dgm:t>
    </dgm:pt>
    <dgm:pt modelId="{D5179FA1-5D4C-4DB2-976F-7A10F79EBB1D}" type="parTrans" cxnId="{DA3755F0-74FF-4660-B4F0-D1F7C2360354}">
      <dgm:prSet/>
      <dgm:spPr/>
      <dgm:t>
        <a:bodyPr/>
        <a:lstStyle/>
        <a:p>
          <a:endParaRPr lang="it-IT">
            <a:solidFill>
              <a:srgbClr val="575756"/>
            </a:solidFill>
          </a:endParaRPr>
        </a:p>
      </dgm:t>
    </dgm:pt>
    <dgm:pt modelId="{7A95F77F-15D3-4F13-827D-8B06E83E2E47}" type="sibTrans" cxnId="{DA3755F0-74FF-4660-B4F0-D1F7C2360354}">
      <dgm:prSet/>
      <dgm:spPr/>
      <dgm:t>
        <a:bodyPr/>
        <a:lstStyle/>
        <a:p>
          <a:endParaRPr lang="it-IT">
            <a:solidFill>
              <a:srgbClr val="575756"/>
            </a:solidFill>
          </a:endParaRPr>
        </a:p>
      </dgm:t>
    </dgm:pt>
    <dgm:pt modelId="{003275C5-5D0D-43AB-B5E9-D26AE3FE025F}" type="pres">
      <dgm:prSet presAssocID="{206C62EF-98A4-4DC4-9BE4-277C252C9D1C}" presName="Name0" presStyleCnt="0">
        <dgm:presLayoutVars>
          <dgm:chMax val="7"/>
          <dgm:chPref val="7"/>
          <dgm:dir/>
        </dgm:presLayoutVars>
      </dgm:prSet>
      <dgm:spPr/>
    </dgm:pt>
    <dgm:pt modelId="{5BB15444-4C8E-4E35-ACD8-B2FC1A4B0611}" type="pres">
      <dgm:prSet presAssocID="{206C62EF-98A4-4DC4-9BE4-277C252C9D1C}" presName="Name1" presStyleCnt="0"/>
      <dgm:spPr/>
    </dgm:pt>
    <dgm:pt modelId="{011CB2ED-BC84-45B1-82CA-1219DD45CFC7}" type="pres">
      <dgm:prSet presAssocID="{206C62EF-98A4-4DC4-9BE4-277C252C9D1C}" presName="cycle" presStyleCnt="0"/>
      <dgm:spPr/>
    </dgm:pt>
    <dgm:pt modelId="{885FCF95-70AA-4B1F-A30A-6EF2824022BA}" type="pres">
      <dgm:prSet presAssocID="{206C62EF-98A4-4DC4-9BE4-277C252C9D1C}" presName="srcNode" presStyleLbl="node1" presStyleIdx="0" presStyleCnt="6"/>
      <dgm:spPr/>
    </dgm:pt>
    <dgm:pt modelId="{939D09DF-4390-4F28-AF51-80A959894DFF}" type="pres">
      <dgm:prSet presAssocID="{206C62EF-98A4-4DC4-9BE4-277C252C9D1C}" presName="conn" presStyleLbl="parChTrans1D2" presStyleIdx="0" presStyleCnt="1"/>
      <dgm:spPr/>
    </dgm:pt>
    <dgm:pt modelId="{8EDBC49F-AD6D-4DDF-B30A-97CE977FEA99}" type="pres">
      <dgm:prSet presAssocID="{206C62EF-98A4-4DC4-9BE4-277C252C9D1C}" presName="extraNode" presStyleLbl="node1" presStyleIdx="0" presStyleCnt="6"/>
      <dgm:spPr/>
    </dgm:pt>
    <dgm:pt modelId="{875C9F94-6EDD-4A8D-AE51-12378F86B464}" type="pres">
      <dgm:prSet presAssocID="{206C62EF-98A4-4DC4-9BE4-277C252C9D1C}" presName="dstNode" presStyleLbl="node1" presStyleIdx="0" presStyleCnt="6"/>
      <dgm:spPr/>
    </dgm:pt>
    <dgm:pt modelId="{71C769AE-EF5A-4059-9833-F9E377A4283E}" type="pres">
      <dgm:prSet presAssocID="{E53930C2-B7E6-4D66-82C5-24167DA25B3F}" presName="text_1" presStyleLbl="node1" presStyleIdx="0" presStyleCnt="6">
        <dgm:presLayoutVars>
          <dgm:bulletEnabled val="1"/>
        </dgm:presLayoutVars>
      </dgm:prSet>
      <dgm:spPr/>
    </dgm:pt>
    <dgm:pt modelId="{ACDF35C4-DE26-4AA3-B043-37D8724D1B9A}" type="pres">
      <dgm:prSet presAssocID="{E53930C2-B7E6-4D66-82C5-24167DA25B3F}" presName="accent_1" presStyleCnt="0"/>
      <dgm:spPr/>
    </dgm:pt>
    <dgm:pt modelId="{304E2A9D-2CBE-4EB9-A373-372350DA1B48}" type="pres">
      <dgm:prSet presAssocID="{E53930C2-B7E6-4D66-82C5-24167DA25B3F}" presName="accentRepeatNode" presStyleLbl="solidFgAcc1" presStyleIdx="0" presStyleCnt="6"/>
      <dgm:spPr/>
    </dgm:pt>
    <dgm:pt modelId="{CB14DAB5-AE45-45BC-BABD-3F95F4F5DD24}" type="pres">
      <dgm:prSet presAssocID="{29A5449A-E8E0-4089-9293-7E97B5B61EB9}" presName="text_2" presStyleLbl="node1" presStyleIdx="1" presStyleCnt="6">
        <dgm:presLayoutVars>
          <dgm:bulletEnabled val="1"/>
        </dgm:presLayoutVars>
      </dgm:prSet>
      <dgm:spPr/>
    </dgm:pt>
    <dgm:pt modelId="{75BB8C73-AA27-4987-898F-473A6EB7650C}" type="pres">
      <dgm:prSet presAssocID="{29A5449A-E8E0-4089-9293-7E97B5B61EB9}" presName="accent_2" presStyleCnt="0"/>
      <dgm:spPr/>
    </dgm:pt>
    <dgm:pt modelId="{4439647F-EBEA-4D31-8A1F-64C296204881}" type="pres">
      <dgm:prSet presAssocID="{29A5449A-E8E0-4089-9293-7E97B5B61EB9}" presName="accentRepeatNode" presStyleLbl="solidFgAcc1" presStyleIdx="1" presStyleCnt="6"/>
      <dgm:spPr/>
    </dgm:pt>
    <dgm:pt modelId="{B3133D7C-94B4-494C-B0D7-B43CE645DEB6}" type="pres">
      <dgm:prSet presAssocID="{DB2B1E44-C7D1-4530-B5DC-40556DE6D489}" presName="text_3" presStyleLbl="node1" presStyleIdx="2" presStyleCnt="6">
        <dgm:presLayoutVars>
          <dgm:bulletEnabled val="1"/>
        </dgm:presLayoutVars>
      </dgm:prSet>
      <dgm:spPr/>
    </dgm:pt>
    <dgm:pt modelId="{72048AC2-F251-426D-AE08-C54441EEF63C}" type="pres">
      <dgm:prSet presAssocID="{DB2B1E44-C7D1-4530-B5DC-40556DE6D489}" presName="accent_3" presStyleCnt="0"/>
      <dgm:spPr/>
    </dgm:pt>
    <dgm:pt modelId="{25D1D31B-3567-4052-A9FE-3279D8666E5C}" type="pres">
      <dgm:prSet presAssocID="{DB2B1E44-C7D1-4530-B5DC-40556DE6D489}" presName="accentRepeatNode" presStyleLbl="solidFgAcc1" presStyleIdx="2" presStyleCnt="6"/>
      <dgm:spPr/>
    </dgm:pt>
    <dgm:pt modelId="{71ABCF99-1388-458C-B599-EBB7A41693FE}" type="pres">
      <dgm:prSet presAssocID="{8C86A3AF-C129-49C1-B23F-FD50E960FCC3}" presName="text_4" presStyleLbl="node1" presStyleIdx="3" presStyleCnt="6">
        <dgm:presLayoutVars>
          <dgm:bulletEnabled val="1"/>
        </dgm:presLayoutVars>
      </dgm:prSet>
      <dgm:spPr/>
    </dgm:pt>
    <dgm:pt modelId="{23E07A10-22CE-42DA-B4A8-32589DA0E2A1}" type="pres">
      <dgm:prSet presAssocID="{8C86A3AF-C129-49C1-B23F-FD50E960FCC3}" presName="accent_4" presStyleCnt="0"/>
      <dgm:spPr/>
    </dgm:pt>
    <dgm:pt modelId="{3166FB9C-4A52-46CC-95B6-8020801F3E6B}" type="pres">
      <dgm:prSet presAssocID="{8C86A3AF-C129-49C1-B23F-FD50E960FCC3}" presName="accentRepeatNode" presStyleLbl="solidFgAcc1" presStyleIdx="3" presStyleCnt="6"/>
      <dgm:spPr/>
    </dgm:pt>
    <dgm:pt modelId="{7FCF1E27-55A6-42FC-AF62-1D4DF75C5156}" type="pres">
      <dgm:prSet presAssocID="{C6B9F010-9D28-48AA-8428-CD9D61D551BB}" presName="text_5" presStyleLbl="node1" presStyleIdx="4" presStyleCnt="6">
        <dgm:presLayoutVars>
          <dgm:bulletEnabled val="1"/>
        </dgm:presLayoutVars>
      </dgm:prSet>
      <dgm:spPr/>
    </dgm:pt>
    <dgm:pt modelId="{C3099D6E-A734-46B3-BA5F-D3870793A044}" type="pres">
      <dgm:prSet presAssocID="{C6B9F010-9D28-48AA-8428-CD9D61D551BB}" presName="accent_5" presStyleCnt="0"/>
      <dgm:spPr/>
    </dgm:pt>
    <dgm:pt modelId="{72270467-2F95-49A8-BFB2-1113B5C0D9C0}" type="pres">
      <dgm:prSet presAssocID="{C6B9F010-9D28-48AA-8428-CD9D61D551BB}" presName="accentRepeatNode" presStyleLbl="solidFgAcc1" presStyleIdx="4" presStyleCnt="6"/>
      <dgm:spPr/>
    </dgm:pt>
    <dgm:pt modelId="{03930C8A-DF5F-4DF2-BE3F-9911146FDD45}" type="pres">
      <dgm:prSet presAssocID="{114AB639-88C4-4D68-8478-1234A4D80D29}" presName="text_6" presStyleLbl="node1" presStyleIdx="5" presStyleCnt="6">
        <dgm:presLayoutVars>
          <dgm:bulletEnabled val="1"/>
        </dgm:presLayoutVars>
      </dgm:prSet>
      <dgm:spPr/>
    </dgm:pt>
    <dgm:pt modelId="{13A97A06-AC27-4E2C-9BAB-6CDE0F050DC2}" type="pres">
      <dgm:prSet presAssocID="{114AB639-88C4-4D68-8478-1234A4D80D29}" presName="accent_6" presStyleCnt="0"/>
      <dgm:spPr/>
    </dgm:pt>
    <dgm:pt modelId="{FB8C2F7D-C426-485F-A734-10634E57FA6D}" type="pres">
      <dgm:prSet presAssocID="{114AB639-88C4-4D68-8478-1234A4D80D29}" presName="accentRepeatNode" presStyleLbl="solidFgAcc1" presStyleIdx="5" presStyleCnt="6"/>
      <dgm:spPr/>
    </dgm:pt>
  </dgm:ptLst>
  <dgm:cxnLst>
    <dgm:cxn modelId="{5CAA240C-1D7C-40F6-9A63-EEFB10A294C6}" srcId="{206C62EF-98A4-4DC4-9BE4-277C252C9D1C}" destId="{C6B9F010-9D28-48AA-8428-CD9D61D551BB}" srcOrd="4" destOrd="0" parTransId="{F501F3CE-4820-4582-A959-F31DEDADBC37}" sibTransId="{9508D383-2872-4C81-8861-34C5DC10A5B3}"/>
    <dgm:cxn modelId="{F1C40523-CA4A-465D-869D-7691CF203313}" type="presOf" srcId="{29A5449A-E8E0-4089-9293-7E97B5B61EB9}" destId="{CB14DAB5-AE45-45BC-BABD-3F95F4F5DD24}" srcOrd="0" destOrd="0" presId="urn:microsoft.com/office/officeart/2008/layout/VerticalCurvedList"/>
    <dgm:cxn modelId="{EF17832F-55C7-4B4D-87B3-AEB28F02223B}" srcId="{206C62EF-98A4-4DC4-9BE4-277C252C9D1C}" destId="{29A5449A-E8E0-4089-9293-7E97B5B61EB9}" srcOrd="1" destOrd="0" parTransId="{1A669C1F-9953-4C3C-908F-FE241F048AF1}" sibTransId="{DED11315-EAD8-4B08-B645-DE32A7CF7330}"/>
    <dgm:cxn modelId="{17D4B357-DC35-456A-9718-95AC339FDC90}" srcId="{206C62EF-98A4-4DC4-9BE4-277C252C9D1C}" destId="{8C86A3AF-C129-49C1-B23F-FD50E960FCC3}" srcOrd="3" destOrd="0" parTransId="{AC1D69F0-2FA2-44B3-990F-96F16728AFDF}" sibTransId="{81CCD32D-B03F-475B-8D8E-61D7BF248D02}"/>
    <dgm:cxn modelId="{C229068E-802D-4E74-8F3F-5D532220EF6E}" type="presOf" srcId="{C6B9F010-9D28-48AA-8428-CD9D61D551BB}" destId="{7FCF1E27-55A6-42FC-AF62-1D4DF75C5156}" srcOrd="0" destOrd="0" presId="urn:microsoft.com/office/officeart/2008/layout/VerticalCurvedList"/>
    <dgm:cxn modelId="{D399D392-32AD-4E9D-8AF5-788215852149}" srcId="{206C62EF-98A4-4DC4-9BE4-277C252C9D1C}" destId="{DB2B1E44-C7D1-4530-B5DC-40556DE6D489}" srcOrd="2" destOrd="0" parTransId="{B2ABB891-3D41-440A-8FA0-911F2B01E273}" sibTransId="{79C04208-0084-4DA5-84FF-5767FB72DD5C}"/>
    <dgm:cxn modelId="{2B3B3D9D-58C0-4E9E-AD83-6B66799F5686}" type="presOf" srcId="{206C62EF-98A4-4DC4-9BE4-277C252C9D1C}" destId="{003275C5-5D0D-43AB-B5E9-D26AE3FE025F}" srcOrd="0" destOrd="0" presId="urn:microsoft.com/office/officeart/2008/layout/VerticalCurvedList"/>
    <dgm:cxn modelId="{A5B308A1-E38B-4086-A6AA-4346D2000C76}" type="presOf" srcId="{480C8893-4410-44D3-973F-CEC846CC7325}" destId="{939D09DF-4390-4F28-AF51-80A959894DFF}" srcOrd="0" destOrd="0" presId="urn:microsoft.com/office/officeart/2008/layout/VerticalCurvedList"/>
    <dgm:cxn modelId="{9C6030AD-90C9-4587-B1DD-AEAEA920D575}" type="presOf" srcId="{8C86A3AF-C129-49C1-B23F-FD50E960FCC3}" destId="{71ABCF99-1388-458C-B599-EBB7A41693FE}" srcOrd="0" destOrd="0" presId="urn:microsoft.com/office/officeart/2008/layout/VerticalCurvedList"/>
    <dgm:cxn modelId="{18D182B4-32E0-4C56-A802-071ED362E032}" type="presOf" srcId="{E53930C2-B7E6-4D66-82C5-24167DA25B3F}" destId="{71C769AE-EF5A-4059-9833-F9E377A4283E}" srcOrd="0" destOrd="0" presId="urn:microsoft.com/office/officeart/2008/layout/VerticalCurvedList"/>
    <dgm:cxn modelId="{F47F64D7-1502-4FEB-B423-B3A61EE6DAC3}" srcId="{206C62EF-98A4-4DC4-9BE4-277C252C9D1C}" destId="{E53930C2-B7E6-4D66-82C5-24167DA25B3F}" srcOrd="0" destOrd="0" parTransId="{19B1D4FE-61EB-404B-9399-81CC1640FAC9}" sibTransId="{480C8893-4410-44D3-973F-CEC846CC7325}"/>
    <dgm:cxn modelId="{C182DDE3-7ABF-4E54-AB34-C8992485648B}" type="presOf" srcId="{DB2B1E44-C7D1-4530-B5DC-40556DE6D489}" destId="{B3133D7C-94B4-494C-B0D7-B43CE645DEB6}" srcOrd="0" destOrd="0" presId="urn:microsoft.com/office/officeart/2008/layout/VerticalCurvedList"/>
    <dgm:cxn modelId="{DA3755F0-74FF-4660-B4F0-D1F7C2360354}" srcId="{206C62EF-98A4-4DC4-9BE4-277C252C9D1C}" destId="{114AB639-88C4-4D68-8478-1234A4D80D29}" srcOrd="5" destOrd="0" parTransId="{D5179FA1-5D4C-4DB2-976F-7A10F79EBB1D}" sibTransId="{7A95F77F-15D3-4F13-827D-8B06E83E2E47}"/>
    <dgm:cxn modelId="{0A2642F6-F7B5-4EB2-A571-183D903DEDF1}" type="presOf" srcId="{114AB639-88C4-4D68-8478-1234A4D80D29}" destId="{03930C8A-DF5F-4DF2-BE3F-9911146FDD45}" srcOrd="0" destOrd="0" presId="urn:microsoft.com/office/officeart/2008/layout/VerticalCurvedList"/>
    <dgm:cxn modelId="{782A0FE3-5211-4182-B602-7D273C75ACEA}" type="presParOf" srcId="{003275C5-5D0D-43AB-B5E9-D26AE3FE025F}" destId="{5BB15444-4C8E-4E35-ACD8-B2FC1A4B0611}" srcOrd="0" destOrd="0" presId="urn:microsoft.com/office/officeart/2008/layout/VerticalCurvedList"/>
    <dgm:cxn modelId="{C0A6AFDB-21A2-4F97-99AB-2EAC9CD9DAA6}" type="presParOf" srcId="{5BB15444-4C8E-4E35-ACD8-B2FC1A4B0611}" destId="{011CB2ED-BC84-45B1-82CA-1219DD45CFC7}" srcOrd="0" destOrd="0" presId="urn:microsoft.com/office/officeart/2008/layout/VerticalCurvedList"/>
    <dgm:cxn modelId="{0F98AD4B-DF1C-4D31-B576-2A46A0BCBF9F}" type="presParOf" srcId="{011CB2ED-BC84-45B1-82CA-1219DD45CFC7}" destId="{885FCF95-70AA-4B1F-A30A-6EF2824022BA}" srcOrd="0" destOrd="0" presId="urn:microsoft.com/office/officeart/2008/layout/VerticalCurvedList"/>
    <dgm:cxn modelId="{F24CC6CC-92D7-4152-82E6-166710BB3602}" type="presParOf" srcId="{011CB2ED-BC84-45B1-82CA-1219DD45CFC7}" destId="{939D09DF-4390-4F28-AF51-80A959894DFF}" srcOrd="1" destOrd="0" presId="urn:microsoft.com/office/officeart/2008/layout/VerticalCurvedList"/>
    <dgm:cxn modelId="{AF5D4F81-433F-4856-B7C9-E08E57575CCD}" type="presParOf" srcId="{011CB2ED-BC84-45B1-82CA-1219DD45CFC7}" destId="{8EDBC49F-AD6D-4DDF-B30A-97CE977FEA99}" srcOrd="2" destOrd="0" presId="urn:microsoft.com/office/officeart/2008/layout/VerticalCurvedList"/>
    <dgm:cxn modelId="{EDA93A37-CF94-4D18-B7B7-104528C9F05B}" type="presParOf" srcId="{011CB2ED-BC84-45B1-82CA-1219DD45CFC7}" destId="{875C9F94-6EDD-4A8D-AE51-12378F86B464}" srcOrd="3" destOrd="0" presId="urn:microsoft.com/office/officeart/2008/layout/VerticalCurvedList"/>
    <dgm:cxn modelId="{01FC429C-A9C9-48CC-B288-3E85CDCD2688}" type="presParOf" srcId="{5BB15444-4C8E-4E35-ACD8-B2FC1A4B0611}" destId="{71C769AE-EF5A-4059-9833-F9E377A4283E}" srcOrd="1" destOrd="0" presId="urn:microsoft.com/office/officeart/2008/layout/VerticalCurvedList"/>
    <dgm:cxn modelId="{2644E1C2-F120-4AD5-B456-96DCC149C84A}" type="presParOf" srcId="{5BB15444-4C8E-4E35-ACD8-B2FC1A4B0611}" destId="{ACDF35C4-DE26-4AA3-B043-37D8724D1B9A}" srcOrd="2" destOrd="0" presId="urn:microsoft.com/office/officeart/2008/layout/VerticalCurvedList"/>
    <dgm:cxn modelId="{5E48D20A-1012-4974-AC4B-9E4D5B45CCBB}" type="presParOf" srcId="{ACDF35C4-DE26-4AA3-B043-37D8724D1B9A}" destId="{304E2A9D-2CBE-4EB9-A373-372350DA1B48}" srcOrd="0" destOrd="0" presId="urn:microsoft.com/office/officeart/2008/layout/VerticalCurvedList"/>
    <dgm:cxn modelId="{BE3A44D2-B082-4B5F-BCFD-9F02E3BDDC4C}" type="presParOf" srcId="{5BB15444-4C8E-4E35-ACD8-B2FC1A4B0611}" destId="{CB14DAB5-AE45-45BC-BABD-3F95F4F5DD24}" srcOrd="3" destOrd="0" presId="urn:microsoft.com/office/officeart/2008/layout/VerticalCurvedList"/>
    <dgm:cxn modelId="{2E12DADF-9B9D-4544-91EB-3884DAE6A4D4}" type="presParOf" srcId="{5BB15444-4C8E-4E35-ACD8-B2FC1A4B0611}" destId="{75BB8C73-AA27-4987-898F-473A6EB7650C}" srcOrd="4" destOrd="0" presId="urn:microsoft.com/office/officeart/2008/layout/VerticalCurvedList"/>
    <dgm:cxn modelId="{51D1F8F1-743D-4C89-9822-91EF0A81105A}" type="presParOf" srcId="{75BB8C73-AA27-4987-898F-473A6EB7650C}" destId="{4439647F-EBEA-4D31-8A1F-64C296204881}" srcOrd="0" destOrd="0" presId="urn:microsoft.com/office/officeart/2008/layout/VerticalCurvedList"/>
    <dgm:cxn modelId="{9D3EB2DF-894F-4653-907C-22DF6DBB063E}" type="presParOf" srcId="{5BB15444-4C8E-4E35-ACD8-B2FC1A4B0611}" destId="{B3133D7C-94B4-494C-B0D7-B43CE645DEB6}" srcOrd="5" destOrd="0" presId="urn:microsoft.com/office/officeart/2008/layout/VerticalCurvedList"/>
    <dgm:cxn modelId="{8100C739-E98E-4593-B81B-471303A4A380}" type="presParOf" srcId="{5BB15444-4C8E-4E35-ACD8-B2FC1A4B0611}" destId="{72048AC2-F251-426D-AE08-C54441EEF63C}" srcOrd="6" destOrd="0" presId="urn:microsoft.com/office/officeart/2008/layout/VerticalCurvedList"/>
    <dgm:cxn modelId="{D4DC78C8-4630-4C5B-9973-DCBC6865C4FE}" type="presParOf" srcId="{72048AC2-F251-426D-AE08-C54441EEF63C}" destId="{25D1D31B-3567-4052-A9FE-3279D8666E5C}" srcOrd="0" destOrd="0" presId="urn:microsoft.com/office/officeart/2008/layout/VerticalCurvedList"/>
    <dgm:cxn modelId="{D365FC69-1754-48AF-A7AA-26F33A5E3CDA}" type="presParOf" srcId="{5BB15444-4C8E-4E35-ACD8-B2FC1A4B0611}" destId="{71ABCF99-1388-458C-B599-EBB7A41693FE}" srcOrd="7" destOrd="0" presId="urn:microsoft.com/office/officeart/2008/layout/VerticalCurvedList"/>
    <dgm:cxn modelId="{DE742525-A3B6-4BCF-B05B-046D7D518530}" type="presParOf" srcId="{5BB15444-4C8E-4E35-ACD8-B2FC1A4B0611}" destId="{23E07A10-22CE-42DA-B4A8-32589DA0E2A1}" srcOrd="8" destOrd="0" presId="urn:microsoft.com/office/officeart/2008/layout/VerticalCurvedList"/>
    <dgm:cxn modelId="{0F18E9E4-B88A-463B-88E1-5BD316A4943D}" type="presParOf" srcId="{23E07A10-22CE-42DA-B4A8-32589DA0E2A1}" destId="{3166FB9C-4A52-46CC-95B6-8020801F3E6B}" srcOrd="0" destOrd="0" presId="urn:microsoft.com/office/officeart/2008/layout/VerticalCurvedList"/>
    <dgm:cxn modelId="{672F2F5F-A797-4F5F-BB61-6E0B2979988B}" type="presParOf" srcId="{5BB15444-4C8E-4E35-ACD8-B2FC1A4B0611}" destId="{7FCF1E27-55A6-42FC-AF62-1D4DF75C5156}" srcOrd="9" destOrd="0" presId="urn:microsoft.com/office/officeart/2008/layout/VerticalCurvedList"/>
    <dgm:cxn modelId="{73F4E968-ADE7-4605-A37D-216CD974ACBF}" type="presParOf" srcId="{5BB15444-4C8E-4E35-ACD8-B2FC1A4B0611}" destId="{C3099D6E-A734-46B3-BA5F-D3870793A044}" srcOrd="10" destOrd="0" presId="urn:microsoft.com/office/officeart/2008/layout/VerticalCurvedList"/>
    <dgm:cxn modelId="{EB0DC5FE-F6DA-4163-96D4-DE2CA058A1C2}" type="presParOf" srcId="{C3099D6E-A734-46B3-BA5F-D3870793A044}" destId="{72270467-2F95-49A8-BFB2-1113B5C0D9C0}" srcOrd="0" destOrd="0" presId="urn:microsoft.com/office/officeart/2008/layout/VerticalCurvedList"/>
    <dgm:cxn modelId="{A0321103-729F-48A5-9419-B33142B4FB7C}" type="presParOf" srcId="{5BB15444-4C8E-4E35-ACD8-B2FC1A4B0611}" destId="{03930C8A-DF5F-4DF2-BE3F-9911146FDD45}" srcOrd="11" destOrd="0" presId="urn:microsoft.com/office/officeart/2008/layout/VerticalCurvedList"/>
    <dgm:cxn modelId="{2F2933E6-DC76-4C19-88F5-7E1B9DA3D6F7}" type="presParOf" srcId="{5BB15444-4C8E-4E35-ACD8-B2FC1A4B0611}" destId="{13A97A06-AC27-4E2C-9BAB-6CDE0F050DC2}" srcOrd="12" destOrd="0" presId="urn:microsoft.com/office/officeart/2008/layout/VerticalCurvedList"/>
    <dgm:cxn modelId="{3FB3EE0D-0E70-4274-9188-899E0DFC0E89}" type="presParOf" srcId="{13A97A06-AC27-4E2C-9BAB-6CDE0F050DC2}" destId="{FB8C2F7D-C426-485F-A734-10634E57FA6D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9D09DF-4390-4F28-AF51-80A959894DFF}">
      <dsp:nvSpPr>
        <dsp:cNvPr id="0" name=""/>
        <dsp:cNvSpPr/>
      </dsp:nvSpPr>
      <dsp:spPr>
        <a:xfrm>
          <a:off x="-5862135" y="-897147"/>
          <a:ext cx="6978870" cy="6978870"/>
        </a:xfrm>
        <a:prstGeom prst="blockArc">
          <a:avLst>
            <a:gd name="adj1" fmla="val 18900000"/>
            <a:gd name="adj2" fmla="val 2700000"/>
            <a:gd name="adj3" fmla="val 310"/>
          </a:avLst>
        </a:prstGeom>
        <a:noFill/>
        <a:ln w="12700" cap="rnd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C769AE-EF5A-4059-9833-F9E377A4283E}">
      <dsp:nvSpPr>
        <dsp:cNvPr id="0" name=""/>
        <dsp:cNvSpPr/>
      </dsp:nvSpPr>
      <dsp:spPr>
        <a:xfrm>
          <a:off x="416020" y="273019"/>
          <a:ext cx="5669848" cy="545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3254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b="1" kern="1200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Company </a:t>
          </a:r>
          <a:r>
            <a:rPr lang="it-IT" sz="1800" b="1" kern="1200" dirty="0" err="1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profile</a:t>
          </a:r>
          <a:endParaRPr lang="it-IT" sz="1800" b="1" kern="1200" dirty="0">
            <a:solidFill>
              <a:srgbClr val="575756"/>
            </a:solidFill>
            <a:latin typeface="+mn-lt"/>
            <a:cs typeface="Arial" panose="020B0604020202020204" pitchFamily="34" charset="0"/>
          </a:endParaRPr>
        </a:p>
      </dsp:txBody>
      <dsp:txXfrm>
        <a:off x="416020" y="273019"/>
        <a:ext cx="5669848" cy="545832"/>
      </dsp:txXfrm>
    </dsp:sp>
    <dsp:sp modelId="{304E2A9D-2CBE-4EB9-A373-372350DA1B48}">
      <dsp:nvSpPr>
        <dsp:cNvPr id="0" name=""/>
        <dsp:cNvSpPr/>
      </dsp:nvSpPr>
      <dsp:spPr>
        <a:xfrm>
          <a:off x="74875" y="204790"/>
          <a:ext cx="682290" cy="6822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14DAB5-AE45-45BC-BABD-3F95F4F5DD24}">
      <dsp:nvSpPr>
        <dsp:cNvPr id="0" name=""/>
        <dsp:cNvSpPr/>
      </dsp:nvSpPr>
      <dsp:spPr>
        <a:xfrm>
          <a:off x="865004" y="1091664"/>
          <a:ext cx="5220864" cy="545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3254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b="1" kern="1200" dirty="0">
              <a:solidFill>
                <a:srgbClr val="575756"/>
              </a:solidFill>
            </a:rPr>
            <a:t>Analisi interna</a:t>
          </a:r>
          <a:endParaRPr lang="it-IT" sz="1800" b="1" kern="1200" dirty="0">
            <a:solidFill>
              <a:srgbClr val="575756"/>
            </a:solidFill>
            <a:latin typeface="+mn-lt"/>
            <a:cs typeface="Arial" panose="020B0604020202020204" pitchFamily="34" charset="0"/>
          </a:endParaRPr>
        </a:p>
      </dsp:txBody>
      <dsp:txXfrm>
        <a:off x="865004" y="1091664"/>
        <a:ext cx="5220864" cy="545832"/>
      </dsp:txXfrm>
    </dsp:sp>
    <dsp:sp modelId="{4439647F-EBEA-4D31-8A1F-64C296204881}">
      <dsp:nvSpPr>
        <dsp:cNvPr id="0" name=""/>
        <dsp:cNvSpPr/>
      </dsp:nvSpPr>
      <dsp:spPr>
        <a:xfrm>
          <a:off x="523859" y="1023435"/>
          <a:ext cx="682290" cy="6822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133D7C-94B4-494C-B0D7-B43CE645DEB6}">
      <dsp:nvSpPr>
        <dsp:cNvPr id="0" name=""/>
        <dsp:cNvSpPr/>
      </dsp:nvSpPr>
      <dsp:spPr>
        <a:xfrm>
          <a:off x="1070314" y="1910308"/>
          <a:ext cx="5015554" cy="545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3254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b="1" kern="1200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Analisi di Mercato</a:t>
          </a:r>
        </a:p>
      </dsp:txBody>
      <dsp:txXfrm>
        <a:off x="1070314" y="1910308"/>
        <a:ext cx="5015554" cy="545832"/>
      </dsp:txXfrm>
    </dsp:sp>
    <dsp:sp modelId="{25D1D31B-3567-4052-A9FE-3279D8666E5C}">
      <dsp:nvSpPr>
        <dsp:cNvPr id="0" name=""/>
        <dsp:cNvSpPr/>
      </dsp:nvSpPr>
      <dsp:spPr>
        <a:xfrm>
          <a:off x="729169" y="1842079"/>
          <a:ext cx="682290" cy="6822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ABCF99-1388-458C-B599-EBB7A41693FE}">
      <dsp:nvSpPr>
        <dsp:cNvPr id="0" name=""/>
        <dsp:cNvSpPr/>
      </dsp:nvSpPr>
      <dsp:spPr>
        <a:xfrm>
          <a:off x="1070314" y="2728434"/>
          <a:ext cx="5015554" cy="545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3254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it-IT" sz="1800" b="1" kern="1200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SWOT - Line guida strategiche </a:t>
          </a:r>
        </a:p>
      </dsp:txBody>
      <dsp:txXfrm>
        <a:off x="1070314" y="2728434"/>
        <a:ext cx="5015554" cy="545832"/>
      </dsp:txXfrm>
    </dsp:sp>
    <dsp:sp modelId="{3166FB9C-4A52-46CC-95B6-8020801F3E6B}">
      <dsp:nvSpPr>
        <dsp:cNvPr id="0" name=""/>
        <dsp:cNvSpPr/>
      </dsp:nvSpPr>
      <dsp:spPr>
        <a:xfrm>
          <a:off x="729169" y="2660205"/>
          <a:ext cx="682290" cy="6822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FCF1E27-55A6-42FC-AF62-1D4DF75C5156}">
      <dsp:nvSpPr>
        <dsp:cNvPr id="0" name=""/>
        <dsp:cNvSpPr/>
      </dsp:nvSpPr>
      <dsp:spPr>
        <a:xfrm>
          <a:off x="865004" y="3547079"/>
          <a:ext cx="5220864" cy="545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3254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it-IT" sz="1800" b="1" kern="1200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Proiezioni - assunzioni</a:t>
          </a:r>
        </a:p>
      </dsp:txBody>
      <dsp:txXfrm>
        <a:off x="865004" y="3547079"/>
        <a:ext cx="5220864" cy="545832"/>
      </dsp:txXfrm>
    </dsp:sp>
    <dsp:sp modelId="{72270467-2F95-49A8-BFB2-1113B5C0D9C0}">
      <dsp:nvSpPr>
        <dsp:cNvPr id="0" name=""/>
        <dsp:cNvSpPr/>
      </dsp:nvSpPr>
      <dsp:spPr>
        <a:xfrm>
          <a:off x="523859" y="3478850"/>
          <a:ext cx="682290" cy="6822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930C8A-DF5F-4DF2-BE3F-9911146FDD45}">
      <dsp:nvSpPr>
        <dsp:cNvPr id="0" name=""/>
        <dsp:cNvSpPr/>
      </dsp:nvSpPr>
      <dsp:spPr>
        <a:xfrm>
          <a:off x="416020" y="4365724"/>
          <a:ext cx="5669848" cy="545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3254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it-IT" sz="1800" b="1" kern="1200" dirty="0">
              <a:solidFill>
                <a:srgbClr val="575756"/>
              </a:solidFill>
              <a:latin typeface="+mn-lt"/>
              <a:cs typeface="Arial" panose="020B0604020202020204" pitchFamily="34" charset="0"/>
            </a:rPr>
            <a:t>Evaluation</a:t>
          </a:r>
        </a:p>
      </dsp:txBody>
      <dsp:txXfrm>
        <a:off x="416020" y="4365724"/>
        <a:ext cx="5669848" cy="545832"/>
      </dsp:txXfrm>
    </dsp:sp>
    <dsp:sp modelId="{FB8C2F7D-C426-485F-A734-10634E57FA6D}">
      <dsp:nvSpPr>
        <dsp:cNvPr id="0" name=""/>
        <dsp:cNvSpPr/>
      </dsp:nvSpPr>
      <dsp:spPr>
        <a:xfrm>
          <a:off x="74875" y="4297495"/>
          <a:ext cx="682290" cy="6822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0"/>
            <a:ext cx="4277134" cy="337429"/>
          </a:xfrm>
          <a:prstGeom prst="rect">
            <a:avLst/>
          </a:prstGeom>
        </p:spPr>
        <p:txBody>
          <a:bodyPr vert="horz" lIns="90366" tIns="45181" rIns="90366" bIns="45181" rtlCol="0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93185" y="0"/>
            <a:ext cx="4277134" cy="337429"/>
          </a:xfrm>
          <a:prstGeom prst="rect">
            <a:avLst/>
          </a:prstGeom>
        </p:spPr>
        <p:txBody>
          <a:bodyPr vert="horz" lIns="90366" tIns="45181" rIns="90366" bIns="45181" rtlCol="0"/>
          <a:lstStyle>
            <a:lvl1pPr algn="r">
              <a:defRPr sz="1300"/>
            </a:lvl1pPr>
          </a:lstStyle>
          <a:p>
            <a:fld id="{9BB3801B-3AD9-4063-8035-40061A8994CF}" type="datetimeFigureOut">
              <a:rPr lang="en-GB" smtClean="0">
                <a:latin typeface="Arial" pitchFamily="34" charset="0"/>
              </a:rPr>
              <a:pPr/>
              <a:t>27/12/2021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" y="6403611"/>
            <a:ext cx="4277134" cy="337429"/>
          </a:xfrm>
          <a:prstGeom prst="rect">
            <a:avLst/>
          </a:prstGeom>
        </p:spPr>
        <p:txBody>
          <a:bodyPr vert="horz" lIns="90366" tIns="45181" rIns="90366" bIns="45181" rtlCol="0" anchor="b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93185" y="6403611"/>
            <a:ext cx="4277134" cy="337429"/>
          </a:xfrm>
          <a:prstGeom prst="rect">
            <a:avLst/>
          </a:prstGeom>
        </p:spPr>
        <p:txBody>
          <a:bodyPr vert="horz" lIns="90366" tIns="45181" rIns="90366" bIns="45181" rtlCol="0" anchor="b"/>
          <a:lstStyle>
            <a:lvl1pPr algn="r">
              <a:defRPr sz="1300"/>
            </a:lvl1pPr>
          </a:lstStyle>
          <a:p>
            <a:fld id="{58488B57-508C-45DA-BE9E-9787265685AB}" type="slidenum">
              <a:rPr lang="en-GB" smtClean="0">
                <a:latin typeface="Arial" pitchFamily="34" charset="0"/>
              </a:rPr>
              <a:pPr/>
              <a:t>‹N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3686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0"/>
            <a:ext cx="4277134" cy="337429"/>
          </a:xfrm>
          <a:prstGeom prst="rect">
            <a:avLst/>
          </a:prstGeom>
        </p:spPr>
        <p:txBody>
          <a:bodyPr vert="horz" lIns="90366" tIns="45181" rIns="90366" bIns="4518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3185" y="0"/>
            <a:ext cx="4277134" cy="337429"/>
          </a:xfrm>
          <a:prstGeom prst="rect">
            <a:avLst/>
          </a:prstGeom>
        </p:spPr>
        <p:txBody>
          <a:bodyPr vert="horz" lIns="90366" tIns="45181" rIns="90366" bIns="4518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31276AA8-87B9-4096-8DB7-61955026A411}" type="datetimeFigureOut">
              <a:rPr lang="en-GB" smtClean="0"/>
              <a:pPr/>
              <a:t>27/12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09913" y="504825"/>
            <a:ext cx="3652837" cy="2528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66" tIns="45181" rIns="90366" bIns="4518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083" y="3202886"/>
            <a:ext cx="7898599" cy="3033628"/>
          </a:xfrm>
          <a:prstGeom prst="rect">
            <a:avLst/>
          </a:prstGeom>
        </p:spPr>
        <p:txBody>
          <a:bodyPr vert="horz" lIns="90366" tIns="45181" rIns="90366" bIns="4518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6403611"/>
            <a:ext cx="4277134" cy="337429"/>
          </a:xfrm>
          <a:prstGeom prst="rect">
            <a:avLst/>
          </a:prstGeom>
        </p:spPr>
        <p:txBody>
          <a:bodyPr vert="horz" lIns="90366" tIns="45181" rIns="90366" bIns="4518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3185" y="6403611"/>
            <a:ext cx="4277134" cy="337429"/>
          </a:xfrm>
          <a:prstGeom prst="rect">
            <a:avLst/>
          </a:prstGeom>
        </p:spPr>
        <p:txBody>
          <a:bodyPr vert="horz" lIns="90366" tIns="45181" rIns="90366" bIns="4518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FAB8291F-7122-4223-8777-35D50163381A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1054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B8291F-7122-4223-8777-35D50163381A}" type="slidenum">
              <a:rPr lang="en-GB" smtClean="0"/>
              <a:pPr/>
              <a:t>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3003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97989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498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1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/>
          <p:cNvSpPr/>
          <p:nvPr userDrawn="1"/>
        </p:nvSpPr>
        <p:spPr>
          <a:xfrm>
            <a:off x="4398728" y="6453336"/>
            <a:ext cx="1108545" cy="36004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err="1">
                <a:solidFill>
                  <a:srgbClr val="C00000"/>
                </a:solidFill>
              </a:rPr>
              <a:t>Strictly</a:t>
            </a:r>
            <a:r>
              <a:rPr lang="it-IT" sz="1200" b="1" dirty="0">
                <a:solidFill>
                  <a:srgbClr val="C00000"/>
                </a:solidFill>
              </a:rPr>
              <a:t>  </a:t>
            </a:r>
            <a:r>
              <a:rPr lang="it-IT" sz="1200" b="1" dirty="0" err="1">
                <a:solidFill>
                  <a:srgbClr val="C00000"/>
                </a:solidFill>
              </a:rPr>
              <a:t>confidential</a:t>
            </a:r>
            <a:endParaRPr lang="it-IT" sz="1200" b="1" dirty="0">
              <a:solidFill>
                <a:srgbClr val="C00000"/>
              </a:solidFill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F8D3E4A7-EE94-41C2-937F-EC7D399D791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" y="-43802"/>
            <a:ext cx="9906000" cy="5175885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B59CA7BD-7836-4E43-9B24-E8E9849E715F}"/>
              </a:ext>
            </a:extLst>
          </p:cNvPr>
          <p:cNvSpPr/>
          <p:nvPr userDrawn="1"/>
        </p:nvSpPr>
        <p:spPr>
          <a:xfrm>
            <a:off x="-15240" y="-43801"/>
            <a:ext cx="3890159" cy="69018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8B55C2F7-6E1D-4335-A642-0BB2EE02E8ED}"/>
              </a:ext>
            </a:extLst>
          </p:cNvPr>
          <p:cNvSpPr/>
          <p:nvPr userDrawn="1"/>
        </p:nvSpPr>
        <p:spPr>
          <a:xfrm>
            <a:off x="2576736" y="5132083"/>
            <a:ext cx="7344504" cy="1725917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D588AA4C-8DEB-40AB-A182-D3E3DC91766C}"/>
              </a:ext>
            </a:extLst>
          </p:cNvPr>
          <p:cNvSpPr/>
          <p:nvPr userDrawn="1"/>
        </p:nvSpPr>
        <p:spPr>
          <a:xfrm>
            <a:off x="58042" y="-25859"/>
            <a:ext cx="5037388" cy="1362187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432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93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/>
          <p:cNvSpPr/>
          <p:nvPr userDrawn="1"/>
        </p:nvSpPr>
        <p:spPr>
          <a:xfrm>
            <a:off x="4398728" y="6453336"/>
            <a:ext cx="1108545" cy="36004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err="1">
                <a:solidFill>
                  <a:srgbClr val="C00000"/>
                </a:solidFill>
              </a:rPr>
              <a:t>Strictly</a:t>
            </a:r>
            <a:r>
              <a:rPr lang="it-IT" sz="1200" b="1" dirty="0">
                <a:solidFill>
                  <a:srgbClr val="C00000"/>
                </a:solidFill>
              </a:rPr>
              <a:t>  </a:t>
            </a:r>
            <a:r>
              <a:rPr lang="it-IT" sz="1200" b="1" dirty="0" err="1">
                <a:solidFill>
                  <a:srgbClr val="C00000"/>
                </a:solidFill>
              </a:rPr>
              <a:t>confidential</a:t>
            </a:r>
            <a:endParaRPr lang="it-IT" sz="1200" b="1" dirty="0">
              <a:solidFill>
                <a:srgbClr val="C00000"/>
              </a:solidFill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88F63628-2A48-4210-9800-176A446D465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5016" y="260648"/>
            <a:ext cx="4715968" cy="1429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694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67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80676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 userDrawn="1"/>
        </p:nvSpPr>
        <p:spPr>
          <a:xfrm>
            <a:off x="0" y="0"/>
            <a:ext cx="171565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sz="1692" dirty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>
          <a:xfrm>
            <a:off x="2215342" y="1347395"/>
            <a:ext cx="6686863" cy="23596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ct val="70000"/>
              </a:lnSpc>
              <a:defRPr sz="11000" baseline="0">
                <a:solidFill>
                  <a:srgbClr val="FFFFFF"/>
                </a:solidFill>
                <a:latin typeface="+mn-lt"/>
                <a:cs typeface="KPMG Extralight"/>
              </a:defRPr>
            </a:lvl1pPr>
          </a:lstStyle>
          <a:p>
            <a:r>
              <a:rPr lang="en-US" dirty="0"/>
              <a:t>Section divider one title style</a:t>
            </a:r>
          </a:p>
        </p:txBody>
      </p:sp>
      <p:sp>
        <p:nvSpPr>
          <p:cNvPr id="5" name="Rettangolo 4"/>
          <p:cNvSpPr/>
          <p:nvPr userDrawn="1"/>
        </p:nvSpPr>
        <p:spPr>
          <a:xfrm>
            <a:off x="4398728" y="6441106"/>
            <a:ext cx="1108545" cy="36004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err="1">
                <a:solidFill>
                  <a:srgbClr val="C00000"/>
                </a:solidFill>
                <a:latin typeface="+mn-lt"/>
              </a:rPr>
              <a:t>Strictly</a:t>
            </a:r>
            <a:r>
              <a:rPr lang="it-IT" sz="1200" b="1" baseline="0" dirty="0">
                <a:solidFill>
                  <a:srgbClr val="C00000"/>
                </a:solidFill>
                <a:latin typeface="+mn-lt"/>
              </a:rPr>
              <a:t> </a:t>
            </a:r>
            <a:r>
              <a:rPr lang="it-IT" sz="1200" b="1" baseline="0" dirty="0" err="1">
                <a:solidFill>
                  <a:srgbClr val="C00000"/>
                </a:solidFill>
                <a:latin typeface="+mn-lt"/>
              </a:rPr>
              <a:t>confidential</a:t>
            </a:r>
            <a:endParaRPr lang="it-IT" sz="1200" b="1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32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0125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62" name="Diapositiva think-cell" r:id="rId8" imgW="270" imgH="270" progId="TCLayout.ActiveDocument.1">
                  <p:embed/>
                </p:oleObj>
              </mc:Choice>
              <mc:Fallback>
                <p:oleObj name="Diapositiva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con angoli arrotondati 4">
            <a:extLst>
              <a:ext uri="{FF2B5EF4-FFF2-40B4-BE49-F238E27FC236}">
                <a16:creationId xmlns:a16="http://schemas.microsoft.com/office/drawing/2014/main" id="{33B50CF3-2F40-4EB0-AAE4-FAC8249EE2B0}"/>
              </a:ext>
            </a:extLst>
          </p:cNvPr>
          <p:cNvSpPr/>
          <p:nvPr userDrawn="1"/>
        </p:nvSpPr>
        <p:spPr>
          <a:xfrm>
            <a:off x="1940541" y="258646"/>
            <a:ext cx="1363848" cy="648072"/>
          </a:xfrm>
          <a:prstGeom prst="roundRect">
            <a:avLst>
              <a:gd name="adj" fmla="val 8967"/>
            </a:avLst>
          </a:prstGeom>
          <a:solidFill>
            <a:srgbClr val="790D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9" name="Rectangle 58"/>
          <p:cNvSpPr/>
          <p:nvPr userDrawn="1"/>
        </p:nvSpPr>
        <p:spPr bwMode="gray">
          <a:xfrm>
            <a:off x="9130600" y="6381332"/>
            <a:ext cx="502920" cy="2808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72000" tIns="72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r" rtl="0" fontAlgn="base">
              <a:spcBef>
                <a:spcPct val="40000"/>
              </a:spcBef>
              <a:spcAft>
                <a:spcPct val="0"/>
              </a:spcAft>
            </a:pPr>
            <a:fld id="{358FC8E3-FE67-4452-9F4E-9A47A20D0542}" type="slidenum">
              <a:rPr lang="en-GB" sz="900" kern="1200" noProof="0" smtClean="0">
                <a:solidFill>
                  <a:srgbClr val="9E3039"/>
                </a:solidFill>
                <a:latin typeface="+mn-lt"/>
                <a:ea typeface="+mn-ea"/>
                <a:cs typeface="Arial" charset="0"/>
              </a:rPr>
              <a:pPr algn="r" rtl="0" fontAlgn="base">
                <a:spcBef>
                  <a:spcPct val="40000"/>
                </a:spcBef>
                <a:spcAft>
                  <a:spcPct val="0"/>
                </a:spcAft>
              </a:pPr>
              <a:t>‹N›</a:t>
            </a:fld>
            <a:endParaRPr lang="en-GB" sz="900" kern="1200" dirty="0">
              <a:solidFill>
                <a:srgbClr val="9E3039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12" name="Line 33"/>
          <p:cNvSpPr>
            <a:spLocks noChangeShapeType="1"/>
          </p:cNvSpPr>
          <p:nvPr userDrawn="1"/>
        </p:nvSpPr>
        <p:spPr bwMode="gray">
          <a:xfrm>
            <a:off x="0" y="6381750"/>
            <a:ext cx="9898063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4" name="Rettangolo 3"/>
          <p:cNvSpPr/>
          <p:nvPr userDrawn="1"/>
        </p:nvSpPr>
        <p:spPr>
          <a:xfrm>
            <a:off x="4398728" y="6441106"/>
            <a:ext cx="1108545" cy="36004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err="1">
                <a:solidFill>
                  <a:srgbClr val="C00000"/>
                </a:solidFill>
                <a:latin typeface="+mn-lt"/>
              </a:rPr>
              <a:t>Strictly</a:t>
            </a:r>
            <a:r>
              <a:rPr lang="it-IT" sz="1200" b="1" baseline="0" dirty="0">
                <a:solidFill>
                  <a:srgbClr val="C00000"/>
                </a:solidFill>
                <a:latin typeface="+mn-lt"/>
              </a:rPr>
              <a:t> </a:t>
            </a:r>
            <a:r>
              <a:rPr lang="it-IT" sz="1200" b="1" baseline="0" dirty="0" err="1">
                <a:solidFill>
                  <a:srgbClr val="C00000"/>
                </a:solidFill>
                <a:latin typeface="+mn-lt"/>
              </a:rPr>
              <a:t>confidential</a:t>
            </a:r>
            <a:endParaRPr lang="it-IT" sz="1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C85A3D6B-CD51-45B2-8207-A14C8F3C3853}"/>
              </a:ext>
            </a:extLst>
          </p:cNvPr>
          <p:cNvSpPr/>
          <p:nvPr userDrawn="1"/>
        </p:nvSpPr>
        <p:spPr>
          <a:xfrm>
            <a:off x="200472" y="121017"/>
            <a:ext cx="180049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5400" b="1" cap="none" spc="0" dirty="0">
                <a:ln w="0"/>
                <a:solidFill>
                  <a:srgbClr val="790D5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MA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27035C2B-5C6A-4FF1-812E-C441398312FA}"/>
              </a:ext>
            </a:extLst>
          </p:cNvPr>
          <p:cNvSpPr/>
          <p:nvPr userDrawn="1"/>
        </p:nvSpPr>
        <p:spPr>
          <a:xfrm>
            <a:off x="1876107" y="129406"/>
            <a:ext cx="149271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5400" b="0" cap="none" spc="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AB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0464102C-1F27-4831-B452-E9DC7CD4B057}"/>
              </a:ext>
            </a:extLst>
          </p:cNvPr>
          <p:cNvSpPr/>
          <p:nvPr userDrawn="1"/>
        </p:nvSpPr>
        <p:spPr>
          <a:xfrm>
            <a:off x="200472" y="1052736"/>
            <a:ext cx="9577064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90" r:id="rId2"/>
    <p:sldLayoutId id="2147483869" r:id="rId3"/>
    <p:sldLayoutId id="2147483882" r:id="rId4"/>
  </p:sldLayoutIdLst>
  <p:txStyles>
    <p:titleStyle>
      <a:lvl1pPr algn="l" defTabSz="914400" rtl="0" eaLnBrk="1" latinLnBrk="0" hangingPunct="1">
        <a:spcBef>
          <a:spcPct val="0"/>
        </a:spcBef>
        <a:buNone/>
        <a:defRPr lang="en-GB" sz="1600" b="1" kern="1200" noProof="0" dirty="0" smtClean="0">
          <a:solidFill>
            <a:srgbClr val="00338D"/>
          </a:solidFill>
          <a:latin typeface="+mn-lt"/>
          <a:ea typeface="+mj-ea"/>
          <a:cs typeface="Arial" pitchFamily="34" charset="0"/>
        </a:defRPr>
      </a:lvl1pPr>
      <a:lvl2pPr eaLnBrk="1" hangingPunct="1">
        <a:defRPr sz="1600" b="1">
          <a:solidFill>
            <a:srgbClr val="00338D"/>
          </a:solidFill>
          <a:latin typeface="+mj-lt"/>
        </a:defRPr>
      </a:lvl2pPr>
      <a:lvl3pPr eaLnBrk="1" hangingPunct="1">
        <a:defRPr sz="1600" b="1">
          <a:solidFill>
            <a:srgbClr val="00338D"/>
          </a:solidFill>
          <a:latin typeface="+mj-lt"/>
        </a:defRPr>
      </a:lvl3pPr>
      <a:lvl4pPr eaLnBrk="1" hangingPunct="1">
        <a:defRPr sz="1600" b="1">
          <a:solidFill>
            <a:srgbClr val="00338D"/>
          </a:solidFill>
          <a:latin typeface="+mj-lt"/>
        </a:defRPr>
      </a:lvl4pPr>
      <a:lvl5pPr eaLnBrk="1" hangingPunct="1">
        <a:defRPr sz="1600" b="1">
          <a:solidFill>
            <a:srgbClr val="00338D"/>
          </a:solidFill>
          <a:latin typeface="+mj-lt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lang="en-US" sz="900" b="1" kern="1200" noProof="0" dirty="0" smtClean="0">
          <a:solidFill>
            <a:srgbClr val="00338D"/>
          </a:solidFill>
          <a:latin typeface="+mn-lt"/>
          <a:ea typeface="+mn-ea"/>
          <a:cs typeface="Arial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lang="en-US" sz="900" b="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b="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355600" indent="-177800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b="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534988" indent="-174625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900" b="0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vesting.com/" TargetMode="External"/><Relationship Id="rId2" Type="http://schemas.openxmlformats.org/officeDocument/2006/relationships/hyperlink" Target="https://janescapital.com/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5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232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4"/>
          <p:cNvSpPr>
            <a:spLocks noGrp="1"/>
          </p:cNvSpPr>
          <p:nvPr>
            <p:ph type="body" sz="quarter" idx="4294967295"/>
          </p:nvPr>
        </p:nvSpPr>
        <p:spPr>
          <a:xfrm>
            <a:off x="128464" y="2204244"/>
            <a:ext cx="3384550" cy="287412"/>
          </a:xfrm>
          <a:prstGeom prst="rect">
            <a:avLst/>
          </a:prstGeom>
        </p:spPr>
        <p:txBody>
          <a:bodyPr/>
          <a:lstStyle/>
          <a:p>
            <a:r>
              <a:rPr lang="en-GB" sz="1600" dirty="0">
                <a:solidFill>
                  <a:schemeClr val="bg1"/>
                </a:solidFill>
              </a:rPr>
              <a:t>Data</a:t>
            </a:r>
            <a:endParaRPr lang="en-GB" sz="16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 bwMode="gray">
          <a:xfrm>
            <a:off x="272480" y="620688"/>
            <a:ext cx="4032448" cy="6480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 eaLnBrk="1" hangingPunct="1"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 eaLnBrk="1" hangingPunct="1"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 eaLnBrk="1" hangingPunct="1"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 eaLnBrk="1" hangingPunct="1"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 eaLnBrk="1" hangingPunct="1"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 eaLnBrk="1" hangingPunct="1"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 eaLnBrk="1" hangingPunct="1">
              <a:defRPr sz="3000" b="1">
                <a:solidFill>
                  <a:schemeClr val="bg1"/>
                </a:solidFill>
                <a:latin typeface="+mj-lt"/>
              </a:defRPr>
            </a:lvl9pPr>
          </a:lstStyle>
          <a:p>
            <a:pPr algn="r"/>
            <a:endParaRPr lang="it-IT" sz="100" dirty="0">
              <a:latin typeface="+mn-lt"/>
            </a:endParaRPr>
          </a:p>
          <a:p>
            <a:r>
              <a:rPr lang="it-IT" sz="3200" i="1" dirty="0">
                <a:latin typeface="+mn-lt"/>
              </a:rPr>
              <a:t>Project WORK</a:t>
            </a:r>
          </a:p>
          <a:p>
            <a:r>
              <a:rPr lang="it-IT" sz="3200" i="1" dirty="0">
                <a:latin typeface="+mn-lt"/>
              </a:rPr>
              <a:t>NAME</a:t>
            </a:r>
          </a:p>
          <a:p>
            <a:endParaRPr lang="it-IT" sz="3200" i="1" dirty="0">
              <a:latin typeface="+mn-lt"/>
            </a:endParaRPr>
          </a:p>
          <a:p>
            <a:endParaRPr lang="it-IT" sz="3200" i="1" dirty="0">
              <a:latin typeface="+mn-lt"/>
            </a:endParaRPr>
          </a:p>
          <a:p>
            <a:r>
              <a:rPr lang="it-IT" sz="2000" i="1" dirty="0">
                <a:latin typeface="+mn-lt"/>
              </a:rPr>
              <a:t>TEAM MEMBERS:</a:t>
            </a:r>
          </a:p>
          <a:p>
            <a:r>
              <a:rPr lang="it-IT" sz="2000" i="1" dirty="0">
                <a:latin typeface="+mn-lt"/>
              </a:rPr>
              <a:t>1</a:t>
            </a:r>
          </a:p>
          <a:p>
            <a:r>
              <a:rPr lang="it-IT" sz="2000" i="1" dirty="0">
                <a:latin typeface="+mn-lt"/>
              </a:rPr>
              <a:t>2</a:t>
            </a:r>
          </a:p>
          <a:p>
            <a:r>
              <a:rPr lang="it-IT" sz="2000" i="1" dirty="0">
                <a:latin typeface="+mn-lt"/>
              </a:rPr>
              <a:t>3</a:t>
            </a:r>
          </a:p>
          <a:p>
            <a:r>
              <a:rPr lang="it-IT" sz="2000" i="1" dirty="0">
                <a:latin typeface="+mn-lt"/>
              </a:rPr>
              <a:t>4</a:t>
            </a:r>
          </a:p>
          <a:p>
            <a:r>
              <a:rPr lang="it-IT" sz="2000" i="1" dirty="0">
                <a:latin typeface="+mn-lt"/>
              </a:rPr>
              <a:t>5</a:t>
            </a:r>
          </a:p>
          <a:p>
            <a:r>
              <a:rPr lang="it-IT" sz="2000" i="1" dirty="0">
                <a:latin typeface="+mn-lt"/>
              </a:rPr>
              <a:t>6</a:t>
            </a:r>
          </a:p>
          <a:p>
            <a:pPr algn="r"/>
            <a:endParaRPr lang="it-IT" sz="2000" dirty="0"/>
          </a:p>
          <a:p>
            <a:pPr algn="r"/>
            <a:endParaRPr lang="it-IT" sz="2400" i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55544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A24D897F-25AC-48E2-848F-37594870623C}"/>
              </a:ext>
            </a:extLst>
          </p:cNvPr>
          <p:cNvSpPr txBox="1"/>
          <p:nvPr/>
        </p:nvSpPr>
        <p:spPr>
          <a:xfrm>
            <a:off x="416496" y="1340784"/>
            <a:ext cx="9361040" cy="47397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Fonti informative suggerite:</a:t>
            </a:r>
          </a:p>
          <a:p>
            <a:r>
              <a:rPr lang="it-IT" sz="2800" b="1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Utilizzare solo dati pubblici</a:t>
            </a:r>
          </a:p>
          <a:p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Sito internet compan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Portale </a:t>
            </a:r>
            <a:r>
              <a:rPr lang="it-IT" sz="2800" dirty="0" err="1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Orbis</a:t>
            </a: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  <a:hlinkClick r:id="rId2"/>
              </a:rPr>
              <a:t>https://janescapital.com/</a:t>
            </a: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https://pages.stern.nyu.edu/~adamodar/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  <a:hlinkClick r:id="rId3"/>
              </a:rPr>
              <a:t>https://www.investing.com/</a:t>
            </a: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Vari paper big4 su AS&amp;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Riviste di settore (on line) es. </a:t>
            </a:r>
            <a:r>
              <a:rPr lang="it-IT" sz="2800" dirty="0" err="1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aviation</a:t>
            </a: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 repor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Slide </a:t>
            </a:r>
            <a:r>
              <a:rPr lang="it-IT" sz="2800" dirty="0" err="1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OMAlab</a:t>
            </a: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3469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a 1">
            <a:extLst>
              <a:ext uri="{FF2B5EF4-FFF2-40B4-BE49-F238E27FC236}">
                <a16:creationId xmlns:a16="http://schemas.microsoft.com/office/drawing/2014/main" id="{A6EB80D8-D03B-41D0-8865-33453E0AB8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9784647"/>
              </p:ext>
            </p:extLst>
          </p:nvPr>
        </p:nvGraphicFramePr>
        <p:xfrm>
          <a:off x="3334870" y="980728"/>
          <a:ext cx="6158754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85730" name="Picture 2" descr="Question Mark Icon Outline: immagini, foto stock e grafica vettoriale |  Shutterstock">
            <a:extLst>
              <a:ext uri="{FF2B5EF4-FFF2-40B4-BE49-F238E27FC236}">
                <a16:creationId xmlns:a16="http://schemas.microsoft.com/office/drawing/2014/main" id="{385D20C3-BD6F-451B-88C2-0EE45BB413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1" t="18900" r="25126" b="21701"/>
          <a:stretch/>
        </p:blipFill>
        <p:spPr bwMode="auto">
          <a:xfrm>
            <a:off x="3584848" y="1340768"/>
            <a:ext cx="314217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Question Mark Icon Outline: immagini, foto stock e grafica vettoriale |  Shutterstock">
            <a:extLst>
              <a:ext uri="{FF2B5EF4-FFF2-40B4-BE49-F238E27FC236}">
                <a16:creationId xmlns:a16="http://schemas.microsoft.com/office/drawing/2014/main" id="{8ACA9F8C-6413-4759-846A-C030A3F3AD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1" t="18900" r="25126" b="21701"/>
          <a:stretch/>
        </p:blipFill>
        <p:spPr bwMode="auto">
          <a:xfrm>
            <a:off x="4045785" y="2141323"/>
            <a:ext cx="314217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Question Mark Icon Outline: immagini, foto stock e grafica vettoriale |  Shutterstock">
            <a:extLst>
              <a:ext uri="{FF2B5EF4-FFF2-40B4-BE49-F238E27FC236}">
                <a16:creationId xmlns:a16="http://schemas.microsoft.com/office/drawing/2014/main" id="{54A5BD48-D7EF-448E-B685-A3539AF76C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1" t="18900" r="25126" b="21701"/>
          <a:stretch/>
        </p:blipFill>
        <p:spPr bwMode="auto">
          <a:xfrm>
            <a:off x="4262162" y="2950345"/>
            <a:ext cx="314217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Question Mark Icon Outline: immagini, foto stock e grafica vettoriale |  Shutterstock">
            <a:extLst>
              <a:ext uri="{FF2B5EF4-FFF2-40B4-BE49-F238E27FC236}">
                <a16:creationId xmlns:a16="http://schemas.microsoft.com/office/drawing/2014/main" id="{2EEE9744-AAF5-44D1-854C-45F6EE7290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1" t="18900" r="25126" b="21701"/>
          <a:stretch/>
        </p:blipFill>
        <p:spPr bwMode="auto">
          <a:xfrm>
            <a:off x="4262162" y="3772106"/>
            <a:ext cx="314217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Question Mark Icon Outline: immagini, foto stock e grafica vettoriale |  Shutterstock">
            <a:extLst>
              <a:ext uri="{FF2B5EF4-FFF2-40B4-BE49-F238E27FC236}">
                <a16:creationId xmlns:a16="http://schemas.microsoft.com/office/drawing/2014/main" id="{5B54530F-C27F-4DB9-9994-3DA70F4252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1" t="18900" r="25126" b="21701"/>
          <a:stretch/>
        </p:blipFill>
        <p:spPr bwMode="auto">
          <a:xfrm>
            <a:off x="4053920" y="4593867"/>
            <a:ext cx="314217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Question Mark Icon Outline: immagini, foto stock e grafica vettoriale |  Shutterstock">
            <a:extLst>
              <a:ext uri="{FF2B5EF4-FFF2-40B4-BE49-F238E27FC236}">
                <a16:creationId xmlns:a16="http://schemas.microsoft.com/office/drawing/2014/main" id="{110F1498-0B61-4756-83FA-3033ABD2DC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1" t="18900" r="25126" b="21701"/>
          <a:stretch/>
        </p:blipFill>
        <p:spPr bwMode="auto">
          <a:xfrm>
            <a:off x="3584848" y="5445224"/>
            <a:ext cx="314217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69903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5">
            <a:extLst>
              <a:ext uri="{FF2B5EF4-FFF2-40B4-BE49-F238E27FC236}">
                <a16:creationId xmlns:a16="http://schemas.microsoft.com/office/drawing/2014/main" id="{A7DEFA6A-ABEE-4183-921B-0D16D2260B39}"/>
              </a:ext>
            </a:extLst>
          </p:cNvPr>
          <p:cNvSpPr txBox="1">
            <a:spLocks/>
          </p:cNvSpPr>
          <p:nvPr/>
        </p:nvSpPr>
        <p:spPr>
          <a:xfrm>
            <a:off x="3584848" y="350668"/>
            <a:ext cx="6192688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1600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600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600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600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600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600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600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600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600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it-IT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any </a:t>
            </a:r>
            <a:r>
              <a:rPr lang="it-IT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rofile</a:t>
            </a:r>
            <a:endParaRPr lang="it-IT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ACE95264-EF0D-4DF0-8898-D253E85D3EDB}"/>
              </a:ext>
            </a:extLst>
          </p:cNvPr>
          <p:cNvSpPr txBox="1"/>
          <p:nvPr/>
        </p:nvSpPr>
        <p:spPr>
          <a:xfrm>
            <a:off x="416496" y="1340784"/>
            <a:ext cx="7560840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Informazioni minime (max 2 slide):</a:t>
            </a:r>
          </a:p>
          <a:p>
            <a:endParaRPr lang="it-IT" sz="28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Descrizione societ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Principali clienti e busines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Compagine societar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Key </a:t>
            </a:r>
            <a:r>
              <a:rPr lang="it-IT" sz="2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financial</a:t>
            </a:r>
            <a:r>
              <a:rPr lang="it-IT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storici (last 3y)</a:t>
            </a:r>
          </a:p>
        </p:txBody>
      </p:sp>
    </p:spTree>
    <p:extLst>
      <p:ext uri="{BB962C8B-B14F-4D97-AF65-F5344CB8AC3E}">
        <p14:creationId xmlns:p14="http://schemas.microsoft.com/office/powerpoint/2010/main" val="2150035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ACE95264-EF0D-4DF0-8898-D253E85D3EDB}"/>
              </a:ext>
            </a:extLst>
          </p:cNvPr>
          <p:cNvSpPr txBox="1"/>
          <p:nvPr/>
        </p:nvSpPr>
        <p:spPr>
          <a:xfrm>
            <a:off x="416496" y="1340784"/>
            <a:ext cx="11089232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Informazioni minime (max 3 slide):</a:t>
            </a:r>
          </a:p>
          <a:p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Performance storiche commentate (CE, SP, RF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Principali KPI </a:t>
            </a:r>
          </a:p>
        </p:txBody>
      </p:sp>
      <p:sp>
        <p:nvSpPr>
          <p:cNvPr id="5" name="Titolo 5">
            <a:extLst>
              <a:ext uri="{FF2B5EF4-FFF2-40B4-BE49-F238E27FC236}">
                <a16:creationId xmlns:a16="http://schemas.microsoft.com/office/drawing/2014/main" id="{9D3A8DF8-71DD-4B90-A3F0-59F39D9AF82E}"/>
              </a:ext>
            </a:extLst>
          </p:cNvPr>
          <p:cNvSpPr txBox="1">
            <a:spLocks/>
          </p:cNvSpPr>
          <p:nvPr/>
        </p:nvSpPr>
        <p:spPr>
          <a:xfrm>
            <a:off x="3584848" y="350668"/>
            <a:ext cx="6192688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1600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600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600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600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600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600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600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600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600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it-IT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alisi intera</a:t>
            </a:r>
          </a:p>
        </p:txBody>
      </p:sp>
    </p:spTree>
    <p:extLst>
      <p:ext uri="{BB962C8B-B14F-4D97-AF65-F5344CB8AC3E}">
        <p14:creationId xmlns:p14="http://schemas.microsoft.com/office/powerpoint/2010/main" val="22671080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ACE95264-EF0D-4DF0-8898-D253E85D3EDB}"/>
              </a:ext>
            </a:extLst>
          </p:cNvPr>
          <p:cNvSpPr txBox="1"/>
          <p:nvPr/>
        </p:nvSpPr>
        <p:spPr>
          <a:xfrm>
            <a:off x="416496" y="1340784"/>
            <a:ext cx="11089232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Informazioni minime (max 2 slide):</a:t>
            </a:r>
          </a:p>
          <a:p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Proiezioni di mercato AS&amp;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Principali trend e opportunità di sviluppo tecnologiche</a:t>
            </a:r>
          </a:p>
        </p:txBody>
      </p:sp>
      <p:sp>
        <p:nvSpPr>
          <p:cNvPr id="5" name="Titolo 5">
            <a:extLst>
              <a:ext uri="{FF2B5EF4-FFF2-40B4-BE49-F238E27FC236}">
                <a16:creationId xmlns:a16="http://schemas.microsoft.com/office/drawing/2014/main" id="{5C174BC3-893A-4D1F-9E77-771A2C736BBC}"/>
              </a:ext>
            </a:extLst>
          </p:cNvPr>
          <p:cNvSpPr txBox="1">
            <a:spLocks/>
          </p:cNvSpPr>
          <p:nvPr/>
        </p:nvSpPr>
        <p:spPr>
          <a:xfrm>
            <a:off x="3584848" y="350668"/>
            <a:ext cx="6192688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1600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600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600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600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600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600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600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600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600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it-IT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alisi di mercato</a:t>
            </a:r>
          </a:p>
        </p:txBody>
      </p:sp>
    </p:spTree>
    <p:extLst>
      <p:ext uri="{BB962C8B-B14F-4D97-AF65-F5344CB8AC3E}">
        <p14:creationId xmlns:p14="http://schemas.microsoft.com/office/powerpoint/2010/main" val="26761582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A103BCDC-1408-4E5F-A418-B8245DF522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566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15" name="Diapositiva think-cell" r:id="rId4" imgW="425" imgH="426" progId="TCLayout.ActiveDocument.1">
                  <p:embed/>
                </p:oleObj>
              </mc:Choice>
              <mc:Fallback>
                <p:oleObj name="Diapositiva think-cell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llaDiTesto 2">
            <a:extLst>
              <a:ext uri="{FF2B5EF4-FFF2-40B4-BE49-F238E27FC236}">
                <a16:creationId xmlns:a16="http://schemas.microsoft.com/office/drawing/2014/main" id="{ACE95264-EF0D-4DF0-8898-D253E85D3EDB}"/>
              </a:ext>
            </a:extLst>
          </p:cNvPr>
          <p:cNvSpPr txBox="1"/>
          <p:nvPr/>
        </p:nvSpPr>
        <p:spPr>
          <a:xfrm>
            <a:off x="416496" y="1340784"/>
            <a:ext cx="9489504" cy="5047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Informazioni minime (max 2 slide):</a:t>
            </a:r>
          </a:p>
          <a:p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Ipotetica SWOT </a:t>
            </a:r>
            <a:r>
              <a:rPr lang="it-IT" sz="2800" dirty="0" err="1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analysis</a:t>
            </a: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i="1" dirty="0" err="1">
                <a:solidFill>
                  <a:srgbClr val="575756"/>
                </a:solidFill>
                <a:effectLst/>
                <a:latin typeface="Arial" panose="020B0604020202020204" pitchFamily="34" charset="0"/>
              </a:rPr>
              <a:t>S</a:t>
            </a:r>
            <a:r>
              <a:rPr lang="it-IT" sz="2800" b="0" i="1" dirty="0" err="1">
                <a:solidFill>
                  <a:srgbClr val="575756"/>
                </a:solidFill>
                <a:effectLst/>
                <a:latin typeface="Arial" panose="020B0604020202020204" pitchFamily="34" charset="0"/>
              </a:rPr>
              <a:t>trengths</a:t>
            </a:r>
            <a:endParaRPr lang="it-IT" sz="2800" b="0" i="1" dirty="0">
              <a:solidFill>
                <a:srgbClr val="575756"/>
              </a:solidFill>
              <a:effectLst/>
              <a:latin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i="1" dirty="0" err="1">
                <a:solidFill>
                  <a:srgbClr val="575756"/>
                </a:solidFill>
                <a:effectLst/>
                <a:latin typeface="Arial" panose="020B0604020202020204" pitchFamily="34" charset="0"/>
              </a:rPr>
              <a:t>W</a:t>
            </a:r>
            <a:r>
              <a:rPr lang="it-IT" sz="2800" b="0" i="1" dirty="0" err="1">
                <a:solidFill>
                  <a:srgbClr val="575756"/>
                </a:solidFill>
                <a:effectLst/>
                <a:latin typeface="Arial" panose="020B0604020202020204" pitchFamily="34" charset="0"/>
              </a:rPr>
              <a:t>eaknesses</a:t>
            </a:r>
            <a:endParaRPr lang="it-IT" sz="2800" i="1" dirty="0">
              <a:solidFill>
                <a:srgbClr val="575756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i="1" dirty="0" err="1">
                <a:solidFill>
                  <a:srgbClr val="575756"/>
                </a:solidFill>
                <a:effectLst/>
                <a:latin typeface="Arial" panose="020B0604020202020204" pitchFamily="34" charset="0"/>
              </a:rPr>
              <a:t>O</a:t>
            </a:r>
            <a:r>
              <a:rPr lang="it-IT" sz="2800" b="0" i="1" dirty="0" err="1">
                <a:solidFill>
                  <a:srgbClr val="575756"/>
                </a:solidFill>
                <a:effectLst/>
                <a:latin typeface="Arial" panose="020B0604020202020204" pitchFamily="34" charset="0"/>
              </a:rPr>
              <a:t>pportunities</a:t>
            </a:r>
            <a:endParaRPr lang="it-IT" sz="2800" b="0" i="1" dirty="0">
              <a:solidFill>
                <a:srgbClr val="575756"/>
              </a:solidFill>
              <a:effectLst/>
              <a:latin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b="1" i="1" dirty="0" err="1">
                <a:solidFill>
                  <a:srgbClr val="575756"/>
                </a:solidFill>
                <a:effectLst/>
                <a:latin typeface="Arial" panose="020B0604020202020204" pitchFamily="34" charset="0"/>
              </a:rPr>
              <a:t>T</a:t>
            </a:r>
            <a:r>
              <a:rPr lang="it-IT" sz="2800" b="0" i="1" dirty="0" err="1">
                <a:solidFill>
                  <a:srgbClr val="575756"/>
                </a:solidFill>
                <a:effectLst/>
                <a:latin typeface="Arial" panose="020B0604020202020204" pitchFamily="34" charset="0"/>
              </a:rPr>
              <a:t>hreats</a:t>
            </a:r>
            <a:endParaRPr lang="it-IT" sz="2800" b="0" i="1" dirty="0">
              <a:solidFill>
                <a:srgbClr val="575756"/>
              </a:solidFill>
              <a:effectLst/>
              <a:latin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800" i="1" dirty="0">
              <a:solidFill>
                <a:srgbClr val="575756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i="1" dirty="0">
                <a:solidFill>
                  <a:srgbClr val="575756"/>
                </a:solidFill>
                <a:latin typeface="Arial" panose="020B0604020202020204" pitchFamily="34" charset="0"/>
                <a:cs typeface="Arial" pitchFamily="34" charset="0"/>
              </a:rPr>
              <a:t>Slide linee strategiche: </a:t>
            </a:r>
            <a:r>
              <a:rPr lang="it-IT" sz="2000" i="1" dirty="0">
                <a:solidFill>
                  <a:srgbClr val="575756"/>
                </a:solidFill>
                <a:latin typeface="Arial" panose="020B0604020202020204" pitchFamily="34" charset="0"/>
                <a:cs typeface="Arial" pitchFamily="34" charset="0"/>
              </a:rPr>
              <a:t>Identificare possibili strategie di crescita che possano generare valore per l’azienda nel futuro, considerando le informazioni dell’analisi interna, esterna (SWOT)</a:t>
            </a:r>
            <a:endParaRPr lang="it-IT" sz="20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olo 5">
            <a:extLst>
              <a:ext uri="{FF2B5EF4-FFF2-40B4-BE49-F238E27FC236}">
                <a16:creationId xmlns:a16="http://schemas.microsoft.com/office/drawing/2014/main" id="{DEBA9789-43AC-4714-AD67-6B5263E1F5B2}"/>
              </a:ext>
            </a:extLst>
          </p:cNvPr>
          <p:cNvSpPr txBox="1">
            <a:spLocks/>
          </p:cNvSpPr>
          <p:nvPr/>
        </p:nvSpPr>
        <p:spPr>
          <a:xfrm>
            <a:off x="3584848" y="350668"/>
            <a:ext cx="6192688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1600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600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600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600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600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600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600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600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600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it-IT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WOT e line guida strategiche</a:t>
            </a:r>
          </a:p>
        </p:txBody>
      </p:sp>
    </p:spTree>
    <p:extLst>
      <p:ext uri="{BB962C8B-B14F-4D97-AF65-F5344CB8AC3E}">
        <p14:creationId xmlns:p14="http://schemas.microsoft.com/office/powerpoint/2010/main" val="1724292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ACE95264-EF0D-4DF0-8898-D253E85D3EDB}"/>
              </a:ext>
            </a:extLst>
          </p:cNvPr>
          <p:cNvSpPr txBox="1"/>
          <p:nvPr/>
        </p:nvSpPr>
        <p:spPr>
          <a:xfrm>
            <a:off x="416496" y="1340784"/>
            <a:ext cx="7560840" cy="30162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Informazioni minime (max 2 slide)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Principali assunzioni economico patrimoniali per la predisposizione delle proiezioni economico patrimoniali future (5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olo 5">
            <a:extLst>
              <a:ext uri="{FF2B5EF4-FFF2-40B4-BE49-F238E27FC236}">
                <a16:creationId xmlns:a16="http://schemas.microsoft.com/office/drawing/2014/main" id="{67BD81DE-3FAC-46AF-8A21-443B4376355E}"/>
              </a:ext>
            </a:extLst>
          </p:cNvPr>
          <p:cNvSpPr txBox="1">
            <a:spLocks/>
          </p:cNvSpPr>
          <p:nvPr/>
        </p:nvSpPr>
        <p:spPr>
          <a:xfrm>
            <a:off x="3584848" y="350668"/>
            <a:ext cx="6192688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1600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600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600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600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600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600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600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600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600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it-IT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iezioni e assunzioni Business Plan</a:t>
            </a:r>
          </a:p>
        </p:txBody>
      </p:sp>
    </p:spTree>
    <p:extLst>
      <p:ext uri="{BB962C8B-B14F-4D97-AF65-F5344CB8AC3E}">
        <p14:creationId xmlns:p14="http://schemas.microsoft.com/office/powerpoint/2010/main" val="21567668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ACE95264-EF0D-4DF0-8898-D253E85D3EDB}"/>
              </a:ext>
            </a:extLst>
          </p:cNvPr>
          <p:cNvSpPr txBox="1"/>
          <p:nvPr/>
        </p:nvSpPr>
        <p:spPr>
          <a:xfrm>
            <a:off x="416496" y="1340784"/>
            <a:ext cx="8928992" cy="34470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Informazioni minime (max 4 slide):</a:t>
            </a:r>
          </a:p>
          <a:p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Valutazione DFC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Valutazione multipli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Eventuale valutazione transazioni comparabili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  <a:p>
            <a:r>
              <a:rPr lang="it-IT" sz="2800" dirty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Calcolo e proposta valutazione capitale economico </a:t>
            </a:r>
          </a:p>
          <a:p>
            <a:endParaRPr lang="it-IT" sz="2800" dirty="0">
              <a:solidFill>
                <a:srgbClr val="57575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olo 5">
            <a:extLst>
              <a:ext uri="{FF2B5EF4-FFF2-40B4-BE49-F238E27FC236}">
                <a16:creationId xmlns:a16="http://schemas.microsoft.com/office/drawing/2014/main" id="{BEB8B5B9-1CF0-438F-A93C-8B9A2069A886}"/>
              </a:ext>
            </a:extLst>
          </p:cNvPr>
          <p:cNvSpPr txBox="1">
            <a:spLocks/>
          </p:cNvSpPr>
          <p:nvPr/>
        </p:nvSpPr>
        <p:spPr>
          <a:xfrm>
            <a:off x="3584848" y="350668"/>
            <a:ext cx="6192688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1600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600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600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600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600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600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600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600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600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it-IT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16999022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BF4E2503-B9D0-4697-8C28-6033D84EF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38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1" name="Diapositiva think-cell" r:id="rId4" imgW="425" imgH="426" progId="TCLayout.ActiveDocument.1">
                  <p:embed/>
                </p:oleObj>
              </mc:Choice>
              <mc:Fallback>
                <p:oleObj name="Diapositiva think-cell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0D96752-A6EC-4F9C-BD55-79F10CA30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sz="7200" dirty="0"/>
              <a:t>Fonti utili</a:t>
            </a:r>
          </a:p>
        </p:txBody>
      </p:sp>
    </p:spTree>
    <p:extLst>
      <p:ext uri="{BB962C8B-B14F-4D97-AF65-F5344CB8AC3E}">
        <p14:creationId xmlns:p14="http://schemas.microsoft.com/office/powerpoint/2010/main" val="986674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4.41"/>
  <p:tag name="TYPE" val="Report"/>
  <p:tag name="KEYWORD" val="REPORT"/>
  <p:tag name="TEMPLATEVERSION" val="25/02/2014 13:22:32"/>
  <p:tag name="THINKCELLPRESENTATIONDONOTDELETE" val="&lt;?xml version=&quot;1.0&quot; encoding=&quot;UTF-16&quot; standalone=&quot;yes&quot;?&gt;&lt;root reqver=&quot;23045&quot;&gt;&lt;version val=&quot;251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38509999999999999787E+00&quot;&gt;&lt;m_msothmcolidx val=&quot;0&quot;/&gt;&lt;m_rgb r=&quot;7A&quot; g=&quot;B8&quot; b=&quot;00&quot;/&gt;&lt;m_nBrightness val=&quot;0&quot;/&gt;&lt;/elem&gt;&lt;elem m_fUsage=&quot;1.00000000000000000000E+00&quot;&gt;&lt;m_msothmcolidx val=&quot;0&quot;/&gt;&lt;m_rgb r=&quot;BF&quot; g=&quot;DE&quot; b=&quot;E4&quot;/&gt;&lt;m_nBrightness val=&quot;0&quot;/&gt;&lt;/elem&gt;&lt;elem m_fUsage=&quot;9.00000000000000022204E-01&quot;&gt;&lt;m_msothmcolidx val=&quot;0&quot;/&gt;&lt;m_rgb r=&quot;00&quot; g=&quot;7C&quot; b=&quot;92&quot;/&gt;&lt;m_nBrightness val=&quot;0&quot;/&gt;&lt;/elem&gt;&lt;elem m_fUsage=&quot;8.10000000000000053291E-01&quot;&gt;&lt;m_msothmcolidx val=&quot;0&quot;/&gt;&lt;m_rgb r=&quot;40&quot; g=&quot;9D&quot; b=&quot;A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EATE REPORT A4">
  <a:themeElements>
    <a:clrScheme name="KPMG Colours">
      <a:dk1>
        <a:srgbClr val="000000"/>
      </a:dk1>
      <a:lt1>
        <a:srgbClr val="FFFFFF"/>
      </a:lt1>
      <a:dk2>
        <a:srgbClr val="007C92"/>
      </a:dk2>
      <a:lt2>
        <a:srgbClr val="747678"/>
      </a:lt2>
      <a:accent1>
        <a:srgbClr val="8E258D"/>
      </a:accent1>
      <a:accent2>
        <a:srgbClr val="A79E70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007C92"/>
      </a:hlink>
      <a:folHlink>
        <a:srgbClr val="8E258D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4767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KPMG Colours">
        <a:dk1>
          <a:srgbClr val="000000"/>
        </a:dk1>
        <a:lt1>
          <a:srgbClr val="FFFFFF"/>
        </a:lt1>
        <a:dk2>
          <a:srgbClr val="007C92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7AB800"/>
        </a:accent3>
        <a:accent4>
          <a:srgbClr val="00338D"/>
        </a:accent4>
        <a:accent5>
          <a:srgbClr val="C84E00"/>
        </a:accent5>
        <a:accent6>
          <a:srgbClr val="EBB700"/>
        </a:accent6>
        <a:hlink>
          <a:srgbClr val="007C92"/>
        </a:hlink>
        <a:folHlink>
          <a:srgbClr val="8E258D"/>
        </a:folHlink>
      </a:clrScheme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  <a:extLst>
    <a:ext uri="{05A4C25C-085E-4340-85A3-A5531E510DB2}">
      <thm15:themeFamily xmlns:thm15="http://schemas.microsoft.com/office/thememl/2012/main" name="KPMG Report Standard Template.potx" id="{0DE2CA31-9F86-44A6-90CA-EBE1E3D987E4}" vid="{55A93BEE-CCB0-4457-A1CB-379E82A285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PMG Report Standard Template</Template>
  <TotalTime>44128</TotalTime>
  <Words>255</Words>
  <Application>Microsoft Office PowerPoint</Application>
  <PresentationFormat>A4 (21x29,7 cm)</PresentationFormat>
  <Paragraphs>71</Paragraphs>
  <Slides>10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13" baseType="lpstr">
      <vt:lpstr>Arial</vt:lpstr>
      <vt:lpstr>CREATE REPORT A4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Fonti utili</vt:lpstr>
      <vt:lpstr>Presentazione standard di PowerPoint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 - ]</dc:title>
  <dc:creator>Lodato, Giovanni</dc:creator>
  <cp:lastModifiedBy>Roberto Salari</cp:lastModifiedBy>
  <cp:revision>3287</cp:revision>
  <cp:lastPrinted>2021-11-11T11:16:17Z</cp:lastPrinted>
  <dcterms:created xsi:type="dcterms:W3CDTF">2014-09-16T16:33:52Z</dcterms:created>
  <dcterms:modified xsi:type="dcterms:W3CDTF">2021-12-27T14:15:29Z</dcterms:modified>
</cp:coreProperties>
</file>